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2.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3.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4.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447" r:id="rId4"/>
    <p:sldMasterId id="2147485841" r:id="rId5"/>
    <p:sldMasterId id="2147485993" r:id="rId6"/>
    <p:sldMasterId id="2147486194" r:id="rId7"/>
    <p:sldMasterId id="2147486353" r:id="rId8"/>
  </p:sldMasterIdLst>
  <p:notesMasterIdLst>
    <p:notesMasterId r:id="rId41"/>
  </p:notesMasterIdLst>
  <p:handoutMasterIdLst>
    <p:handoutMasterId r:id="rId42"/>
  </p:handoutMasterIdLst>
  <p:sldIdLst>
    <p:sldId id="2147482456" r:id="rId9"/>
    <p:sldId id="2147482427" r:id="rId10"/>
    <p:sldId id="2147483647" r:id="rId11"/>
    <p:sldId id="2147482463" r:id="rId12"/>
    <p:sldId id="2147482466" r:id="rId13"/>
    <p:sldId id="2147482458" r:id="rId14"/>
    <p:sldId id="267" r:id="rId15"/>
    <p:sldId id="268" r:id="rId16"/>
    <p:sldId id="2147483583" r:id="rId17"/>
    <p:sldId id="2147483644" r:id="rId18"/>
    <p:sldId id="266" r:id="rId19"/>
    <p:sldId id="280" r:id="rId20"/>
    <p:sldId id="282" r:id="rId21"/>
    <p:sldId id="2147483587" r:id="rId22"/>
    <p:sldId id="264" r:id="rId23"/>
    <p:sldId id="263" r:id="rId24"/>
    <p:sldId id="269" r:id="rId25"/>
    <p:sldId id="270" r:id="rId26"/>
    <p:sldId id="271" r:id="rId27"/>
    <p:sldId id="256" r:id="rId28"/>
    <p:sldId id="257" r:id="rId29"/>
    <p:sldId id="308" r:id="rId30"/>
    <p:sldId id="261" r:id="rId31"/>
    <p:sldId id="265" r:id="rId32"/>
    <p:sldId id="260" r:id="rId33"/>
    <p:sldId id="294" r:id="rId34"/>
    <p:sldId id="2147482468" r:id="rId35"/>
    <p:sldId id="2147482459" r:id="rId36"/>
    <p:sldId id="333" r:id="rId37"/>
    <p:sldId id="2147482471" r:id="rId38"/>
    <p:sldId id="2147482472" r:id="rId39"/>
    <p:sldId id="2147482470" r:id="rId40"/>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Slide del MW Customer Hub" id="{0CB07BD8-A729-44C3-AF36-735DAE1433D6}">
          <p14:sldIdLst>
            <p14:sldId id="2147482456"/>
            <p14:sldId id="2147482427"/>
            <p14:sldId id="2147483647"/>
            <p14:sldId id="2147482463"/>
            <p14:sldId id="2147482466"/>
            <p14:sldId id="2147482458"/>
            <p14:sldId id="267"/>
            <p14:sldId id="268"/>
            <p14:sldId id="2147483583"/>
            <p14:sldId id="2147483644"/>
            <p14:sldId id="266"/>
            <p14:sldId id="280"/>
            <p14:sldId id="282"/>
            <p14:sldId id="2147483587"/>
            <p14:sldId id="264"/>
            <p14:sldId id="263"/>
            <p14:sldId id="269"/>
            <p14:sldId id="270"/>
            <p14:sldId id="271"/>
            <p14:sldId id="256"/>
            <p14:sldId id="257"/>
            <p14:sldId id="308"/>
            <p14:sldId id="261"/>
            <p14:sldId id="265"/>
            <p14:sldId id="260"/>
            <p14:sldId id="294"/>
            <p14:sldId id="2147482468"/>
            <p14:sldId id="2147482459"/>
            <p14:sldId id="333"/>
            <p14:sldId id="2147482471"/>
            <p14:sldId id="2147482472"/>
            <p14:sldId id="2147482470"/>
          </p14:sldIdLst>
        </p14:section>
      </p14:sectionLst>
    </p:ext>
    <p:ext uri="{EFAFB233-063F-42B5-8137-9DF3F51BA10A}">
      <p15:sldGuideLst xmlns:p15="http://schemas.microsoft.com/office/powerpoint/2012/main">
        <p15:guide id="1" orient="horz" pos="528" userDrawn="1">
          <p15:clr>
            <a:srgbClr val="A4A3A4"/>
          </p15:clr>
        </p15:guide>
        <p15:guide id="2" orient="horz" pos="960" userDrawn="1">
          <p15:clr>
            <a:srgbClr val="A4A3A4"/>
          </p15:clr>
        </p15:guide>
        <p15:guide id="3" pos="5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03C9203-E7AA-6A1A-6AB9-9D4395238D91}" name="Tobias Heim" initials="TH" userId="S::toheim@microsoft.com::e706bc59-35ab-44e1-8133-88b83e8aa14d" providerId="AD"/>
  <p188:author id="{5A02B80E-149C-7DFD-4E8D-3782118F40E7}" name="Alicia Peterson (NAYAMODE INC)" initials="AP" userId="S::v-petersonal@microsoft.com::f8898314-5523-4930-acf0-2b563b2b4dc9" providerId="AD"/>
  <p188:author id="{510D8F14-A022-0A99-8116-51D39974EA9F}" name="Anne Fernando" initials="AF" userId="S::anfern@microsoft.com::c02b9aa4-0131-48a6-ac5f-35d8d38dc7d1" providerId="AD"/>
  <p188:author id="{1DFA4B18-80A8-4BDB-4694-031CFB2CE57F}" name="Phil Topness" initials="" userId="S::phtopnes@microsoft.com::08b7be88-37ac-4e2b-82af-f8bb67e5f2f7" providerId="AD"/>
  <p188:author id="{0531392E-A5DF-BBF0-70C7-610272F7DC87}" name="Jyoti Rathod" initials="JR" userId="S::jyrathod@microsoft.com::9b91ecaf-5f8a-4a12-a9c9-51a52c265f69" providerId="AD"/>
  <p188:author id="{42827239-A550-492D-1576-CE1DCACE4914}" name="Daryl Schaal (SYNAXIS CORPORATION)" initials="DS" userId="S::v-darsch@microsoft.com::a951ecaa-969a-4477-a8c9-df0dfa026182" providerId="AD"/>
  <p188:author id="{E45D227C-DD9A-9FCD-CD34-CD50625CD106}" name="Tavo Adame (SIMPLICITY CONSULTING INC)" initials="TA" userId="S::v-tadame@microsoft.com::bfcf9539-9748-450c-a5e5-cd9a8efcfa1a" providerId="AD"/>
  <p188:author id="{04819280-EEB3-A4BC-F063-FB07DB803AB2}" name="Darian Nastvogel" initials="" userId="S::dnastvogel@microsoft.com::01bf3104-fa72-409a-8070-dc95ad0ff07f" providerId="AD"/>
  <p188:author id="{F2709498-A04C-E0B7-6180-202D121EF24A}" name="Mike Bennett" initials="MB" userId="S::mibennet@microsoft.com::5407ebdc-0b12-45bd-bd0c-572d036e4581" providerId="AD"/>
  <p188:author id="{55AF939D-306C-F0E7-56D3-E15986F88A63}" name="Elisabeth Laschon" initials="EL" userId="S::elilas@microsoft.com::0b6c7030-3f53-41a5-849b-86871f2417fe" providerId="AD"/>
  <p188:author id="{EBA9DF9D-87EA-6B39-A87B-CB1B65BF9312}" name="Lori Mahoney (SIMPLICITY CONSULTING INC)" initials="LI" userId="S::v-lmahoney@microsoft.com::90d51f6a-163f-4992-b484-af052976e220" providerId="AD"/>
  <p188:author id="{4ACC95A1-35E7-199E-C8D8-A60F70482912}" name="Tierney Cunningham" initials="TC" userId="S::ticunnin@microsoft.com::62f4f650-5c68-4535-8517-3a3a0205aaef" providerId="AD"/>
  <p188:author id="{092205A2-489C-1532-9FFC-E545CF251602}" name="Shanthini Radhakrishnan" initials="SR" userId="S::shradhak@microsoft.com::c88ac23b-9b67-42fb-9f3f-79af25099068" providerId="AD"/>
  <p188:author id="{2BDABFA7-42D8-E004-E91C-93EEC5C6948A}" name="Rachel Wood" initials="RW" userId="S::racwood@microsoft.com::6d9fbd8d-5d31-411f-a256-18a03a3cc732" providerId="AD"/>
  <p188:author id="{FBD031C0-ABDE-4D11-7EC0-73AD3F67B375}" name="Gretchen LaBelle" initials="GL" userId="S::gmann@microsoft.com::e1272184-a555-44d7-9931-e82c2d4a4989" providerId="AD"/>
  <p188:author id="{0FB8C0C1-E82F-CBA1-C1B9-629A03720797}" name="April Dunnam" initials="AD" userId="S::apdunnam@microsoft.com::562b7256-5259-47b4-83a3-59bfd87a28e0" providerId="AD"/>
  <p188:author id="{05380ECF-6B5F-4E8E-4402-7FA320132A4F}" name="Alisha Dranitsaris" initials="" userId="S::adranitsaris@microsoft.com::cd7437d3-1a85-4002-a1b1-85829425d099" providerId="AD"/>
  <p188:author id="{4A7A3BD1-DD43-8DBB-6DEC-2ECC8760C411}" name="David Griffith" initials="DG" userId="S::davidg@silverfoxprod.com::d098c8ac-700f-46f0-bf84-2134bdb9d901" providerId="AD"/>
  <p188:author id="{C52A54D3-1347-4190-5F40-6F5444B3D3A4}" name="Rajiv Thandla" initials="RT" userId="S::rajivthandla@microsoft.com::fabdc47e-1289-4ceb-abc2-acffe7192ea1" providerId="AD"/>
  <p188:author id="{6AFA61D8-796F-555E-A395-B33F90AAF99E}" name="Monica Lueder" initials="ML" userId="S::monical@microsoft.com::75969e72-ba9c-4e32-a4ac-c8f3aeff9ba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E47"/>
    <a:srgbClr val="091F2C"/>
    <a:srgbClr val="3F3C3E"/>
    <a:srgbClr val="FEFEFF"/>
    <a:srgbClr val="E9F2F8"/>
    <a:srgbClr val="2A446F"/>
    <a:srgbClr val="94D8FE"/>
    <a:srgbClr val="C03BC4"/>
    <a:srgbClr val="FF5C39"/>
    <a:srgbClr val="FFE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29" autoAdjust="0"/>
    <p:restoredTop sz="93488" autoAdjust="0"/>
  </p:normalViewPr>
  <p:slideViewPr>
    <p:cSldViewPr snapToGrid="0">
      <p:cViewPr varScale="1">
        <p:scale>
          <a:sx n="65" d="100"/>
          <a:sy n="65" d="100"/>
        </p:scale>
        <p:origin x="48" y="555"/>
      </p:cViewPr>
      <p:guideLst>
        <p:guide orient="horz" pos="528"/>
        <p:guide orient="horz" pos="960"/>
        <p:guide pos="552"/>
      </p:guideLst>
    </p:cSldViewPr>
  </p:slideViewPr>
  <p:notesTextViewPr>
    <p:cViewPr>
      <p:scale>
        <a:sx n="1" d="1"/>
        <a:sy n="1" d="1"/>
      </p:scale>
      <p:origin x="0" y="0"/>
    </p:cViewPr>
  </p:notesTextViewPr>
  <p:notesViewPr>
    <p:cSldViewPr snapToGrid="0">
      <p:cViewPr>
        <p:scale>
          <a:sx n="75" d="100"/>
          <a:sy n="75" d="100"/>
        </p:scale>
        <p:origin x="2846" y="4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commentAuthors" Target="commentAuthors.xml"/><Relationship Id="rId48"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Sans Display" pitchFamily="2"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Sans Display" pitchFamily="2" charset="0"/>
              </a:rPr>
              <a:t>7/7/2026 9:12 AM</a:t>
            </a:fld>
            <a:endParaRPr lang="en-US">
              <a:latin typeface="Segoe Sans Display" pitchFamily="2"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Sans Display" pitchFamily="2" charset="0"/>
              </a:rPr>
              <a:t>‹#›</a:t>
            </a:fld>
            <a:endParaRPr lang="en-US">
              <a:latin typeface="Segoe Sans Display" pitchFamily="2"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Sans Display" pitchFamily="2"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atin typeface="Segoe Sans Display" pitchFamily="2" charset="0"/>
                <a:cs typeface="Segoe Sans Display" pitchFamily="2" charset="0"/>
              </a:defRPr>
            </a:lvl1p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Sans Display" pitchFamily="2" charset="0"/>
              </a:defRPr>
            </a:lvl1pPr>
          </a:lstStyle>
          <a:p>
            <a:fld id="{386CE63F-9E7F-4C04-9D0D-FCA25A8E9E86}" type="datetime8">
              <a:rPr lang="en-US" smtClean="0"/>
              <a:pPr/>
              <a:t>7/7/2026 9:12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Sans Display" pitchFamily="2"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Sans Display" pitchFamily="2"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Diamo il benvenuto a tutti e grazie per esservi collegati alla serie Customer Hub dedicata agli agenti IA. Aspettiamo giusto un paio di minuti per dare modo a tutti di entrare. Nel frattempo scriveteci pure in chat da dove vi collegate: partiamo tra pochissim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9:1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22963356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Dove trova l'utente finale questi agenti? Nell'Agent Store, il marketplace dentro l'interfaccia di Copilot, nella barra a sinistra subito dopo la chat. Lì troviamo gli agenti Microsoft, quelli dei partner certificati e quelli custom sviluppati dall'organizzazione. E sono gli amministratori IT a decidere cosa è visibile e accessibile, con tutti gli agenti nativi sottoposti a rigorosi standard di sicurezza e compliance.</a:t>
            </a:r>
          </a:p>
        </p:txBody>
      </p:sp>
      <p:sp>
        <p:nvSpPr>
          <p:cNvPr id="4" name="Slide Number Placeholder 3"/>
          <p:cNvSpPr>
            <a:spLocks noGrp="1"/>
          </p:cNvSpPr>
          <p:nvPr>
            <p:ph type="sldNum" sz="quarter" idx="5"/>
          </p:nvPr>
        </p:nvSpPr>
        <p:spPr/>
        <p:txBody>
          <a:bodyPr/>
          <a:lstStyle/>
          <a:p>
            <a:fld id="{C496C0B6-D558-45A9-AA5C-4B0C7776B6D8}" type="slidenum">
              <a:rPr lang="en-GB" smtClean="0"/>
              <a:t>10</a:t>
            </a:fld>
            <a:endParaRPr lang="en-GB"/>
          </a:p>
        </p:txBody>
      </p:sp>
    </p:spTree>
    <p:extLst>
      <p:ext uri="{BB962C8B-B14F-4D97-AF65-F5344CB8AC3E}">
        <p14:creationId xmlns:p14="http://schemas.microsoft.com/office/powerpoint/2010/main" val="28814036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24339A-C2FF-4150-7013-0FA5252E98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279AEF-3A8A-A9E4-D1CF-F6BC30BF3C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171464-2B02-074B-6FFF-EA3A512566B3}"/>
              </a:ext>
            </a:extLst>
          </p:cNvPr>
          <p:cNvSpPr>
            <a:spLocks noGrp="1"/>
          </p:cNvSpPr>
          <p:nvPr>
            <p:ph type="body" idx="1"/>
          </p:nvPr>
        </p:nvSpPr>
        <p:spPr/>
        <p:txBody>
          <a:bodyPr/>
          <a:lstStyle/>
          <a:p>
            <a:r>
              <a:rPr lang="it-IT" dirty="0"/>
              <a:t>Passiamo al valore: ora che sappiamo cosa sono e come nascono gli agenti, vediamo perché conviene davvero portarli in azienda e quali categorie abbiamo a disposizione.</a:t>
            </a:r>
          </a:p>
        </p:txBody>
      </p:sp>
      <p:sp>
        <p:nvSpPr>
          <p:cNvPr id="4" name="Header Placeholder 3">
            <a:extLst>
              <a:ext uri="{FF2B5EF4-FFF2-40B4-BE49-F238E27FC236}">
                <a16:creationId xmlns:a16="http://schemas.microsoft.com/office/drawing/2014/main" id="{5D335422-ED0B-7787-8140-2EB9B97731B5}"/>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308DE66F-BB24-04C6-2BC0-D74A328DB9BC}"/>
              </a:ext>
            </a:extLst>
          </p:cNvPr>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a:extLst>
              <a:ext uri="{FF2B5EF4-FFF2-40B4-BE49-F238E27FC236}">
                <a16:creationId xmlns:a16="http://schemas.microsoft.com/office/drawing/2014/main" id="{88669099-81A0-4803-957F-52322139675F}"/>
              </a:ext>
            </a:extLst>
          </p:cNvPr>
          <p:cNvSpPr>
            <a:spLocks noGrp="1"/>
          </p:cNvSpPr>
          <p:nvPr>
            <p:ph type="dt" idx="1"/>
          </p:nvPr>
        </p:nvSpPr>
        <p:spPr/>
        <p:txBody>
          <a:bodyPr/>
          <a:lstStyle/>
          <a:p>
            <a:fld id="{386CE63F-9E7F-4C04-9D0D-FCA25A8E9E86}" type="datetime8">
              <a:rPr lang="en-US" smtClean="0"/>
              <a:pPr/>
              <a:t>7/7/2026 9:12 AM</a:t>
            </a:fld>
            <a:endParaRPr lang="en-US"/>
          </a:p>
        </p:txBody>
      </p:sp>
      <p:sp>
        <p:nvSpPr>
          <p:cNvPr id="7" name="Slide Number Placeholder 6">
            <a:extLst>
              <a:ext uri="{FF2B5EF4-FFF2-40B4-BE49-F238E27FC236}">
                <a16:creationId xmlns:a16="http://schemas.microsoft.com/office/drawing/2014/main" id="{36B47E94-4587-33B9-1131-830EE48555B4}"/>
              </a:ext>
            </a:extLst>
          </p:cNvPr>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39108131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BA96C-81BA-DF62-4839-EC6E7A33E6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0276FC-DDE6-3F96-2FB6-3C73802C8DE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54BACC3-1D12-FA9A-3B4E-760AE2A1EE75}"/>
              </a:ext>
            </a:extLst>
          </p:cNvPr>
          <p:cNvSpPr>
            <a:spLocks noGrp="1"/>
          </p:cNvSpPr>
          <p:nvPr>
            <p:ph type="body" idx="1"/>
          </p:nvPr>
        </p:nvSpPr>
        <p:spPr/>
        <p:txBody>
          <a:bodyPr/>
          <a:lstStyle/>
          <a:p>
            <a:r>
              <a:rPr lang="it-IT" dirty="0"/>
              <a:t>Il valore vero è avere assistenti dedicati, e si dividono in tre grandi categorie. Gli agenti Microsoft, forniti direttamente da noi con diversi livelli di integrazione e personalizzazione. Gli agenti partner, sviluppati da terze parti certificate e integrati dentro Copilot. E gli agenti custom, che l'organizzazione costruisce internamente sui propri bisogni di business.</a:t>
            </a:r>
          </a:p>
        </p:txBody>
      </p:sp>
      <p:sp>
        <p:nvSpPr>
          <p:cNvPr id="4" name="Header Placeholder 3">
            <a:extLst>
              <a:ext uri="{FF2B5EF4-FFF2-40B4-BE49-F238E27FC236}">
                <a16:creationId xmlns:a16="http://schemas.microsoft.com/office/drawing/2014/main" id="{DB60AF08-5BB9-2190-CE22-575FCA9E78CD}"/>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C65DFEA1-843E-0201-777F-1EC1AC70D71D}"/>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EB266B2-48A4-FE96-6D8F-948EF365C874}"/>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26 9:12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2DA50FC3-DDC2-BAD2-8D04-BFBC79C19E8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04809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7EE1B-0AD3-D435-2E92-DC6E7D4AA7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2B4550-4952-897F-9C47-D4A143825C2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73EA41C-F488-6FE3-BD86-F1B60BA8E8E0}"/>
              </a:ext>
            </a:extLst>
          </p:cNvPr>
          <p:cNvSpPr>
            <a:spLocks noGrp="1"/>
          </p:cNvSpPr>
          <p:nvPr>
            <p:ph type="body" idx="1"/>
          </p:nvPr>
        </p:nvSpPr>
        <p:spPr/>
        <p:txBody>
          <a:bodyPr/>
          <a:lstStyle/>
          <a:p>
            <a:r>
              <a:rPr lang="it-IT" dirty="0"/>
              <a:t>Microsoft mette a disposizione tantissimi agenti, e l'elenco cresce di continuo. Qui ne vedete una buona parte: pensate a Researcher e Analyst per il ragionamento avanzato, all'Interpreter come traduttore simultaneo nei meeting di Teams, al Facilitator che aiuta a condurre la riunione. Ognuno è pensato per fare benissimo un compito specifico. Quelli che vedrete davvero dipenderanno dalla vostra licenza e da cosa ha abilitato il vostro amministratore.</a:t>
            </a:r>
          </a:p>
        </p:txBody>
      </p:sp>
      <p:sp>
        <p:nvSpPr>
          <p:cNvPr id="4" name="Slide Number Placeholder 3">
            <a:extLst>
              <a:ext uri="{FF2B5EF4-FFF2-40B4-BE49-F238E27FC236}">
                <a16:creationId xmlns:a16="http://schemas.microsoft.com/office/drawing/2014/main" id="{41449BB4-B57D-737A-AEE4-193E796C45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570344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it-IT" dirty="0"/>
              <a:t>Sul fronte partner c'è un marketplace in crescita di agenti e connettori di Microsoft 365 Copilot. Coprono funzioni e settori diversi: pensate ad Adobe per i contenuti, a Dynamics per il customer service o agli strumenti di desk management per l'IT. Così potete integrare facilmente app e strumenti di terze parti direttamente dentro Copilot.</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11C51-1335-92A9-866C-DE89A9B929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7E2921-210A-F5A2-5974-FC1B7696A4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6CD7C7-849A-29C5-270A-DE3BC62C0427}"/>
              </a:ext>
            </a:extLst>
          </p:cNvPr>
          <p:cNvSpPr>
            <a:spLocks noGrp="1"/>
          </p:cNvSpPr>
          <p:nvPr>
            <p:ph type="body" idx="1"/>
          </p:nvPr>
        </p:nvSpPr>
        <p:spPr/>
        <p:txBody>
          <a:bodyPr/>
          <a:lstStyle/>
          <a:p>
            <a:r>
              <a:rPr lang="it-IT" dirty="0"/>
              <a:t>Veniamo a come guidare l'adozione, e qui c'è un framework ormai abbastanza consolidato. Primo: attivare i champion, colleghi vicini alle persone che fanno da traino con il passaparola. Secondo: la promozione interna, sfruttando i contenuti di formazione che rendiamo disponibili. Terzo: organizzare eventi, dalle sessioni verticali per reparto fino agli agent-a-thon per far emergere nuove idee. Quarto: la formazione continua, con pillole e reminder periodici. Un consiglio pratico: fissate gli agenti più usati nella barra di Copilot per ridurre l'attrito.</a:t>
            </a:r>
          </a:p>
        </p:txBody>
      </p:sp>
      <p:sp>
        <p:nvSpPr>
          <p:cNvPr id="4" name="Header Placeholder 3">
            <a:extLst>
              <a:ext uri="{FF2B5EF4-FFF2-40B4-BE49-F238E27FC236}">
                <a16:creationId xmlns:a16="http://schemas.microsoft.com/office/drawing/2014/main" id="{2E9AF367-B011-0F1C-EBA3-06B2AED51AEE}"/>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4A7BD36F-68D1-E717-300B-B71326638B86}"/>
              </a:ext>
            </a:extLst>
          </p:cNvPr>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a:extLst>
              <a:ext uri="{FF2B5EF4-FFF2-40B4-BE49-F238E27FC236}">
                <a16:creationId xmlns:a16="http://schemas.microsoft.com/office/drawing/2014/main" id="{04388956-4C27-A109-EA22-6D75E13BB69C}"/>
              </a:ext>
            </a:extLst>
          </p:cNvPr>
          <p:cNvSpPr>
            <a:spLocks noGrp="1"/>
          </p:cNvSpPr>
          <p:nvPr>
            <p:ph type="dt" idx="1"/>
          </p:nvPr>
        </p:nvSpPr>
        <p:spPr/>
        <p:txBody>
          <a:bodyPr/>
          <a:lstStyle/>
          <a:p>
            <a:fld id="{386CE63F-9E7F-4C04-9D0D-FCA25A8E9E86}" type="datetime8">
              <a:rPr lang="en-US" smtClean="0"/>
              <a:pPr/>
              <a:t>7/7/2026 9:12 AM</a:t>
            </a:fld>
            <a:endParaRPr lang="en-US"/>
          </a:p>
        </p:txBody>
      </p:sp>
      <p:sp>
        <p:nvSpPr>
          <p:cNvPr id="7" name="Slide Number Placeholder 6">
            <a:extLst>
              <a:ext uri="{FF2B5EF4-FFF2-40B4-BE49-F238E27FC236}">
                <a16:creationId xmlns:a16="http://schemas.microsoft.com/office/drawing/2014/main" id="{7674CF21-F500-9D8A-782A-E87C4AFE546D}"/>
              </a:ext>
            </a:extLst>
          </p:cNvPr>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14700315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50A137-E730-CED4-2BBC-65D510566C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8A6633-A619-12C8-43C3-01C8C7E63C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CE5322-F23A-13BA-B53E-2A680F050A00}"/>
              </a:ext>
            </a:extLst>
          </p:cNvPr>
          <p:cNvSpPr>
            <a:spLocks noGrp="1"/>
          </p:cNvSpPr>
          <p:nvPr>
            <p:ph type="body" idx="1"/>
          </p:nvPr>
        </p:nvSpPr>
        <p:spPr/>
        <p:txBody>
          <a:bodyPr/>
          <a:lstStyle/>
          <a:p>
            <a:r>
              <a:rPr lang="it-IT" dirty="0"/>
              <a:t>Perché tutto questo conta? Un approccio strutturato abbatte la scarsa competenza degli utenti, che spesso non sanno quando e perché usare un agente. Migliora la gestione del cambiamento, perché raccogliendo use case e abitudini favoriamo l'adozione di soluzioni davvero efficaci. E rafforza la capacità organizzativa: con i champion vicini ai colleghi e con portali strutturati distribuiamo meglio le competenze e le facciamo scalare.</a:t>
            </a:r>
          </a:p>
        </p:txBody>
      </p:sp>
      <p:sp>
        <p:nvSpPr>
          <p:cNvPr id="4" name="Header Placeholder 3">
            <a:extLst>
              <a:ext uri="{FF2B5EF4-FFF2-40B4-BE49-F238E27FC236}">
                <a16:creationId xmlns:a16="http://schemas.microsoft.com/office/drawing/2014/main" id="{F6D50CA4-CA06-2568-3FC3-899AE3F5507B}"/>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814C19C3-5003-AF0F-9203-494E4BDC7531}"/>
              </a:ext>
            </a:extLst>
          </p:cNvPr>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a:extLst>
              <a:ext uri="{FF2B5EF4-FFF2-40B4-BE49-F238E27FC236}">
                <a16:creationId xmlns:a16="http://schemas.microsoft.com/office/drawing/2014/main" id="{7DE933AB-480E-7055-0DB1-8AD0DC845E28}"/>
              </a:ext>
            </a:extLst>
          </p:cNvPr>
          <p:cNvSpPr>
            <a:spLocks noGrp="1"/>
          </p:cNvSpPr>
          <p:nvPr>
            <p:ph type="dt" idx="1"/>
          </p:nvPr>
        </p:nvSpPr>
        <p:spPr/>
        <p:txBody>
          <a:bodyPr/>
          <a:lstStyle/>
          <a:p>
            <a:fld id="{386CE63F-9E7F-4C04-9D0D-FCA25A8E9E86}" type="datetime8">
              <a:rPr lang="en-US" smtClean="0"/>
              <a:pPr/>
              <a:t>7/7/2026 9:12 AM</a:t>
            </a:fld>
            <a:endParaRPr lang="en-US"/>
          </a:p>
        </p:txBody>
      </p:sp>
      <p:sp>
        <p:nvSpPr>
          <p:cNvPr id="7" name="Slide Number Placeholder 6">
            <a:extLst>
              <a:ext uri="{FF2B5EF4-FFF2-40B4-BE49-F238E27FC236}">
                <a16:creationId xmlns:a16="http://schemas.microsoft.com/office/drawing/2014/main" id="{8F6F776D-FB4D-25E0-A055-A03E95242656}"/>
              </a:ext>
            </a:extLst>
          </p:cNvPr>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1542411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035C11-E859-E381-7ADD-2B62436F70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3BA38C-FFE9-6FB5-EA2B-3EDDCD4677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2DC5B2-A4F7-37FE-B0FF-E6FFEBFB27A8}"/>
              </a:ext>
            </a:extLst>
          </p:cNvPr>
          <p:cNvSpPr>
            <a:spLocks noGrp="1"/>
          </p:cNvSpPr>
          <p:nvPr>
            <p:ph type="body" idx="1"/>
          </p:nvPr>
        </p:nvSpPr>
        <p:spPr/>
        <p:txBody>
          <a:bodyPr/>
          <a:lstStyle/>
          <a:p>
            <a:r>
              <a:rPr lang="it-IT" dirty="0"/>
              <a:t>Spostiamoci ora sulla governance. Vediamo gli strumenti che la piattaforma mette in mano all'IT per gestire gli agenti in modo sicuro e sotto controllo.</a:t>
            </a:r>
          </a:p>
        </p:txBody>
      </p:sp>
      <p:sp>
        <p:nvSpPr>
          <p:cNvPr id="4" name="Header Placeholder 3">
            <a:extLst>
              <a:ext uri="{FF2B5EF4-FFF2-40B4-BE49-F238E27FC236}">
                <a16:creationId xmlns:a16="http://schemas.microsoft.com/office/drawing/2014/main" id="{F52ECEB5-2EA1-D6CA-8122-AE01F58DDBF3}"/>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FD53BDB-0047-2866-7DFF-7090853B70DC}"/>
              </a:ext>
            </a:extLst>
          </p:cNvPr>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a:extLst>
              <a:ext uri="{FF2B5EF4-FFF2-40B4-BE49-F238E27FC236}">
                <a16:creationId xmlns:a16="http://schemas.microsoft.com/office/drawing/2014/main" id="{6BDE1DA7-4798-EB97-28AE-FC9A864F481F}"/>
              </a:ext>
            </a:extLst>
          </p:cNvPr>
          <p:cNvSpPr>
            <a:spLocks noGrp="1"/>
          </p:cNvSpPr>
          <p:nvPr>
            <p:ph type="dt" idx="1"/>
          </p:nvPr>
        </p:nvSpPr>
        <p:spPr/>
        <p:txBody>
          <a:bodyPr/>
          <a:lstStyle/>
          <a:p>
            <a:fld id="{386CE63F-9E7F-4C04-9D0D-FCA25A8E9E86}" type="datetime8">
              <a:rPr lang="en-US" smtClean="0"/>
              <a:pPr/>
              <a:t>7/7/2026 9:12 AM</a:t>
            </a:fld>
            <a:endParaRPr lang="en-US"/>
          </a:p>
        </p:txBody>
      </p:sp>
      <p:sp>
        <p:nvSpPr>
          <p:cNvPr id="7" name="Slide Number Placeholder 6">
            <a:extLst>
              <a:ext uri="{FF2B5EF4-FFF2-40B4-BE49-F238E27FC236}">
                <a16:creationId xmlns:a16="http://schemas.microsoft.com/office/drawing/2014/main" id="{62139AD9-7B39-576F-AAB3-69D848EC958E}"/>
              </a:ext>
            </a:extLst>
          </p:cNvPr>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16380635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A34229-7C08-C1A4-C508-C552CF2E45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2D982A-3736-33F8-A992-CC1A0D2A40D9}"/>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9EB73893-D6AB-0F4B-B6DB-0F0BBBAC794F}"/>
              </a:ext>
            </a:extLst>
          </p:cNvPr>
          <p:cNvSpPr>
            <a:spLocks noGrp="1"/>
          </p:cNvSpPr>
          <p:nvPr>
            <p:ph type="body" idx="1"/>
          </p:nvPr>
        </p:nvSpPr>
        <p:spPr/>
        <p:txBody>
          <a:bodyPr/>
          <a:lstStyle/>
          <a:p>
            <a:r>
              <a:rPr lang="it-IT" dirty="0"/>
              <a:t>Qui entra in gioco il control plane, oggi sotto il nome commerciale di Agent 365. È l'insieme di strumenti che permette all'IT di elencare gli agenti presenti in azienda e controllarne in modo sicuro adozione e utilizzo. Registro, controllo degli accessi, visibilità, interoperabilità e sicurezza: tutto integrato nei prodotti Microsoft che già usate per proteggere dispositivi, app e persone.</a:t>
            </a:r>
          </a:p>
        </p:txBody>
      </p:sp>
      <p:sp>
        <p:nvSpPr>
          <p:cNvPr id="4" name="Slide Number Placeholder 3">
            <a:extLst>
              <a:ext uri="{FF2B5EF4-FFF2-40B4-BE49-F238E27FC236}">
                <a16:creationId xmlns:a16="http://schemas.microsoft.com/office/drawing/2014/main" id="{37DF71A7-6554-7407-5F3E-CC45DADD862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FABD56-7E30-471F-B77B-F411599753D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847311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D720BC-4FAA-2416-4774-67F8813CDC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45C5C2-A50F-3B4D-17F8-E97C04F920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FDC1A2-DCBA-8FA3-E187-1926F1AAFD88}"/>
              </a:ext>
            </a:extLst>
          </p:cNvPr>
          <p:cNvSpPr>
            <a:spLocks noGrp="1"/>
          </p:cNvSpPr>
          <p:nvPr>
            <p:ph type="body" idx="1"/>
          </p:nvPr>
        </p:nvSpPr>
        <p:spPr/>
        <p:txBody>
          <a:bodyPr/>
          <a:lstStyle/>
          <a:p>
            <a:r>
              <a:rPr lang="it-IT" dirty="0"/>
              <a:t>Il registro agenti vi dà piena visibilità su tutto ciò che gira in azienda: agenti Microsoft, partner o sviluppati dai vostri utenti e maker. Gli amministratori possono monitorarne la nascita e la crescita e, integrando le funzioni di sicurezza e compliance, mantenere una governance solida del tenant.</a:t>
            </a:r>
          </a:p>
        </p:txBody>
      </p:sp>
      <p:sp>
        <p:nvSpPr>
          <p:cNvPr id="4" name="Slide Number Placeholder 3">
            <a:extLst>
              <a:ext uri="{FF2B5EF4-FFF2-40B4-BE49-F238E27FC236}">
                <a16:creationId xmlns:a16="http://schemas.microsoft.com/office/drawing/2014/main" id="{B7654726-4641-CB71-8E21-740E37DA7BA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426592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Eccoci, benvenuti alla sessione di oggi: parliamo di strategie vincenti per l'adozione degli agenti. È un incontro pratico, pensato per mostrarvi cosa funziona davvero nelle organizzazioni quando si tratta di portare gli agenti nel lavoro di tutti i giorni.</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9:1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6279403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CB0B80-790E-6282-11C7-908A736850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0E385B-F0A1-2967-420E-D161773711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E19CA5-C05B-CC05-E5F9-6A92D73FC707}"/>
              </a:ext>
            </a:extLst>
          </p:cNvPr>
          <p:cNvSpPr>
            <a:spLocks noGrp="1"/>
          </p:cNvSpPr>
          <p:nvPr>
            <p:ph type="body" idx="1"/>
          </p:nvPr>
        </p:nvSpPr>
        <p:spPr/>
        <p:txBody>
          <a:bodyPr/>
          <a:lstStyle/>
          <a:p>
            <a:r>
              <a:rPr lang="it-IT" dirty="0"/>
              <a:t>A livello di tenant potete decidere cosa è disponibile. Dal Microsoft 365 Admin Center gli amministratori controllano cosa appare dentro Copilot, e dal Teams Admin Center quali bot sono accessibili in Teams. Si può lavorare per macro categorie, ad esempio bloccare tutti gli agenti di terze parti, oppure scendere a controlli granulari e autorizzare un singolo agente quando serve.</a:t>
            </a:r>
          </a:p>
        </p:txBody>
      </p:sp>
      <p:sp>
        <p:nvSpPr>
          <p:cNvPr id="4" name="Slide Number Placeholder 3">
            <a:extLst>
              <a:ext uri="{FF2B5EF4-FFF2-40B4-BE49-F238E27FC236}">
                <a16:creationId xmlns:a16="http://schemas.microsoft.com/office/drawing/2014/main" id="{5F79F10F-3C61-28B6-D054-B6C24F19989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581678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7DCAA-24AE-919B-F4EB-77B472384B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BFEC85-6723-D1DE-DBF4-9B1C8DC0B0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E9195F-496E-38ED-A232-54B5D304598C}"/>
              </a:ext>
            </a:extLst>
          </p:cNvPr>
          <p:cNvSpPr>
            <a:spLocks noGrp="1"/>
          </p:cNvSpPr>
          <p:nvPr>
            <p:ph type="body" idx="1"/>
          </p:nvPr>
        </p:nvSpPr>
        <p:spPr/>
        <p:txBody>
          <a:bodyPr/>
          <a:lstStyle/>
          <a:p>
            <a:r>
              <a:rPr lang="it-IT" dirty="0"/>
              <a:t>Sul fronte misurazione, dashboard dedicate ci dicono quanto e come vengono usati gli agenti: quali sono i più utilizzati, l'andamento nel tempo e quali reparti li sfruttano di più. Sono informazioni preziose per i manager, perché aiutano a stimare il ritorno sull'investimento e l'impatto reale sul business.</a:t>
            </a:r>
          </a:p>
        </p:txBody>
      </p:sp>
      <p:sp>
        <p:nvSpPr>
          <p:cNvPr id="4" name="Slide Number Placeholder 3">
            <a:extLst>
              <a:ext uri="{FF2B5EF4-FFF2-40B4-BE49-F238E27FC236}">
                <a16:creationId xmlns:a16="http://schemas.microsoft.com/office/drawing/2014/main" id="{F740446E-D9A6-DB5E-B993-EEE0F387980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2253678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898CD9-580B-7455-9E31-6A5C7E09E2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410DAF-63DD-FDE8-7300-6121C111B4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B9057C-CC10-6521-F00B-3296DC3D3FB2}"/>
              </a:ext>
            </a:extLst>
          </p:cNvPr>
          <p:cNvSpPr>
            <a:spLocks noGrp="1"/>
          </p:cNvSpPr>
          <p:nvPr>
            <p:ph type="body" idx="1"/>
          </p:nvPr>
        </p:nvSpPr>
        <p:spPr/>
        <p:txBody>
          <a:bodyPr/>
          <a:lstStyle/>
          <a:p>
            <a:r>
              <a:rPr lang="it-IT" dirty="0"/>
              <a:t>E per chi guarda alla sicurezza e al controllo dei dati: come i file e l'IA, anche gli agenti portano con sé delle complessità. La buona notizia è che si gestiscono con gli stessi strumenti avanzati di intelligence, logging e analisi dei comportamenti, capaci di intercettare file o prompt malevoli e attacchi noti o sospetti, già ben integrati nei servizi Microsoft.</a:t>
            </a:r>
          </a:p>
        </p:txBody>
      </p:sp>
      <p:sp>
        <p:nvSpPr>
          <p:cNvPr id="4" name="Slide Number Placeholder 3">
            <a:extLst>
              <a:ext uri="{FF2B5EF4-FFF2-40B4-BE49-F238E27FC236}">
                <a16:creationId xmlns:a16="http://schemas.microsoft.com/office/drawing/2014/main" id="{3BE08FBD-FFB0-1E26-02B4-4E693F3EE67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2010621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815AE-C3D2-8FCE-92F4-833FC689EC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140202-41EC-06BB-B4EB-BBFA221D6F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A7FC0B-6695-5227-ED90-CA36D4020276}"/>
              </a:ext>
            </a:extLst>
          </p:cNvPr>
          <p:cNvSpPr>
            <a:spLocks noGrp="1"/>
          </p:cNvSpPr>
          <p:nvPr>
            <p:ph type="body" idx="1"/>
          </p:nvPr>
        </p:nvSpPr>
        <p:spPr/>
        <p:txBody>
          <a:bodyPr/>
          <a:lstStyle/>
          <a:p>
            <a:r>
              <a:rPr lang="it-IT" dirty="0"/>
              <a:t>Avviamoci all'ultima parte, dove ricapitoliamo tutti i materiali e le risorse aggiuntive che potete portarvi a casa per approfondire e far crescere l'adozione.</a:t>
            </a:r>
          </a:p>
        </p:txBody>
      </p:sp>
      <p:sp>
        <p:nvSpPr>
          <p:cNvPr id="4" name="Header Placeholder 3">
            <a:extLst>
              <a:ext uri="{FF2B5EF4-FFF2-40B4-BE49-F238E27FC236}">
                <a16:creationId xmlns:a16="http://schemas.microsoft.com/office/drawing/2014/main" id="{56D16FFF-0BAE-23CC-FFF2-E13DACEFD688}"/>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123AAE7-038B-AFE6-CF53-B151E380F955}"/>
              </a:ext>
            </a:extLst>
          </p:cNvPr>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a:extLst>
              <a:ext uri="{FF2B5EF4-FFF2-40B4-BE49-F238E27FC236}">
                <a16:creationId xmlns:a16="http://schemas.microsoft.com/office/drawing/2014/main" id="{80CB079A-3F9E-2385-53F9-410983F0DD12}"/>
              </a:ext>
            </a:extLst>
          </p:cNvPr>
          <p:cNvSpPr>
            <a:spLocks noGrp="1"/>
          </p:cNvSpPr>
          <p:nvPr>
            <p:ph type="dt" idx="1"/>
          </p:nvPr>
        </p:nvSpPr>
        <p:spPr/>
        <p:txBody>
          <a:bodyPr/>
          <a:lstStyle/>
          <a:p>
            <a:fld id="{386CE63F-9E7F-4C04-9D0D-FCA25A8E9E86}" type="datetime8">
              <a:rPr lang="en-US" smtClean="0"/>
              <a:pPr/>
              <a:t>7/7/2026 9:12 AM</a:t>
            </a:fld>
            <a:endParaRPr lang="en-US"/>
          </a:p>
        </p:txBody>
      </p:sp>
      <p:sp>
        <p:nvSpPr>
          <p:cNvPr id="7" name="Slide Number Placeholder 6">
            <a:extLst>
              <a:ext uri="{FF2B5EF4-FFF2-40B4-BE49-F238E27FC236}">
                <a16:creationId xmlns:a16="http://schemas.microsoft.com/office/drawing/2014/main" id="{9DB48C5A-F9ED-6C80-AF5E-A43A244FC532}"/>
              </a:ext>
            </a:extLst>
          </p:cNvPr>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3912480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F89BF-DABB-ECB1-ED1A-A6519CC8C6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7AFC2D-F9D4-9F4F-1E9B-F90F741EA613}"/>
              </a:ext>
            </a:extLst>
          </p:cNvPr>
          <p:cNvSpPr>
            <a:spLocks noGrp="1" noRot="1" noChangeAspect="1"/>
          </p:cNvSpPr>
          <p:nvPr>
            <p:ph type="sldImg"/>
          </p:nvPr>
        </p:nvSpPr>
        <p:spPr/>
        <p:txBody>
          <a:bodyPr/>
          <a:lstStyle/>
          <a:p>
            <a:endParaRPr lang="en-CA"/>
          </a:p>
        </p:txBody>
      </p:sp>
      <p:sp>
        <p:nvSpPr>
          <p:cNvPr id="3" name="Notes Placeholder 2">
            <a:extLst>
              <a:ext uri="{FF2B5EF4-FFF2-40B4-BE49-F238E27FC236}">
                <a16:creationId xmlns:a16="http://schemas.microsoft.com/office/drawing/2014/main" id="{C83C00AA-3E71-48D5-F217-F595DB647970}"/>
              </a:ext>
            </a:extLst>
          </p:cNvPr>
          <p:cNvSpPr>
            <a:spLocks noGrp="1"/>
          </p:cNvSpPr>
          <p:nvPr>
            <p:ph type="body" idx="1"/>
          </p:nvPr>
        </p:nvSpPr>
        <p:spPr/>
        <p:txBody>
          <a:bodyPr/>
          <a:lstStyle/>
          <a:p>
            <a:r>
              <a:rPr lang="it-IT" dirty="0"/>
              <a:t>Questa slide è una mappa di dove trovare le risorse per l'adozione. Il punto di partenza è il sito Microsoft Adoption, con hub dedicati a Copilot e all'agent builder. Da lì raggiungete l'Agent Success Kit per pianificare e abilitare gli utenti, la sezione Agents in Microsoft 365 per vedere cosa è pronto all'uso, e la libreria di scenari per sfogliare casi d'uso reali per ruolo, funzione o settore.</a:t>
            </a:r>
          </a:p>
        </p:txBody>
      </p:sp>
      <p:sp>
        <p:nvSpPr>
          <p:cNvPr id="4" name="Slide Number Placeholder 3">
            <a:extLst>
              <a:ext uri="{FF2B5EF4-FFF2-40B4-BE49-F238E27FC236}">
                <a16:creationId xmlns:a16="http://schemas.microsoft.com/office/drawing/2014/main" id="{5C5DB573-A919-3A35-A64C-BAE891F3AF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25696-AA70-475A-8FBB-99A1B555DE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390081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B98F64-E0AA-2AB2-1343-E3639DEDE3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7B942D-3A26-0F85-2388-476FCDAE81E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A79EBEB-61C0-F772-0CEE-6C596EC850D9}"/>
              </a:ext>
            </a:extLst>
          </p:cNvPr>
          <p:cNvSpPr>
            <a:spLocks noGrp="1"/>
          </p:cNvSpPr>
          <p:nvPr>
            <p:ph type="body" idx="1"/>
          </p:nvPr>
        </p:nvSpPr>
        <p:spPr/>
        <p:txBody>
          <a:bodyPr/>
          <a:lstStyle/>
          <a:p>
            <a:r>
              <a:rPr lang="it-it"/>
              <a:t>Se </a:t>
            </a:r>
            <a:r>
              <a:rPr lang="it-IT" dirty="0"/>
              <a:t>volete andare più a fondo su </a:t>
            </a:r>
            <a:r>
              <a:rPr lang="it-it"/>
              <a:t>Copilot Studio e </a:t>
            </a:r>
            <a:r>
              <a:rPr lang="it-IT" dirty="0"/>
              <a:t>sugli </a:t>
            </a:r>
            <a:r>
              <a:rPr lang="it-it"/>
              <a:t>agenti, </a:t>
            </a:r>
            <a:r>
              <a:rPr lang="it-IT" dirty="0"/>
              <a:t>ci sono i </a:t>
            </a:r>
            <a:r>
              <a:rPr lang="it-it"/>
              <a:t>webinar </a:t>
            </a:r>
            <a:r>
              <a:rPr lang="it-IT" dirty="0"/>
              <a:t>del team </a:t>
            </a:r>
            <a:r>
              <a:rPr lang="it-it"/>
              <a:t>CAT: sessioni live e interattive</a:t>
            </a:r>
            <a:r>
              <a:rPr lang="it-IT" dirty="0"/>
              <a:t>, di solito il mercoledì,</a:t>
            </a:r>
            <a:r>
              <a:rPr lang="it-it"/>
              <a:t> con </a:t>
            </a:r>
            <a:r>
              <a:rPr lang="it-IT" dirty="0"/>
              <a:t>repliche </a:t>
            </a:r>
            <a:r>
              <a:rPr lang="it-it"/>
              <a:t>per Americhe, </a:t>
            </a:r>
            <a:r>
              <a:rPr lang="it-IT" dirty="0"/>
              <a:t>EMEA e APAC</a:t>
            </a:r>
            <a:r>
              <a:rPr lang="it-it"/>
              <a:t>. </a:t>
            </a:r>
            <a:r>
              <a:rPr lang="it-IT" dirty="0"/>
              <a:t>Sono ricche </a:t>
            </a:r>
            <a:r>
              <a:rPr lang="it-it"/>
              <a:t>di </a:t>
            </a:r>
            <a:r>
              <a:rPr lang="it-IT" dirty="0"/>
              <a:t>spunti dagli </a:t>
            </a:r>
            <a:r>
              <a:rPr lang="it-it"/>
              <a:t>esperti Microsoft e coprono </a:t>
            </a:r>
            <a:r>
              <a:rPr lang="it-IT" dirty="0"/>
              <a:t>dalle funzionalità della piattaforma fino a governance e casi reali</a:t>
            </a:r>
            <a:r>
              <a:rPr lang="it-it"/>
              <a:t>.</a:t>
            </a:r>
            <a:r>
              <a:rPr lang="it-IT" dirty="0"/>
              <a:t> Tutte le sessioni </a:t>
            </a:r>
            <a:r>
              <a:rPr lang="it-it"/>
              <a:t>vengono </a:t>
            </a:r>
            <a:r>
              <a:rPr lang="it-IT" dirty="0"/>
              <a:t>registrate</a:t>
            </a:r>
            <a:r>
              <a:rPr lang="it-it"/>
              <a:t>, </a:t>
            </a:r>
            <a:r>
              <a:rPr lang="it-IT" dirty="0"/>
              <a:t>così potete recuperarle on-demand quando volete</a:t>
            </a:r>
            <a:r>
              <a:rPr lang="it-it"/>
              <a:t>.</a:t>
            </a:r>
            <a:endParaRPr lang="it-IT" dirty="0"/>
          </a:p>
        </p:txBody>
      </p:sp>
      <p:sp>
        <p:nvSpPr>
          <p:cNvPr id="4" name="Slide Number Placeholder 3">
            <a:extLst>
              <a:ext uri="{FF2B5EF4-FFF2-40B4-BE49-F238E27FC236}">
                <a16:creationId xmlns:a16="http://schemas.microsoft.com/office/drawing/2014/main" id="{126F76AC-7892-5EFF-1D7C-0424BE0BBC8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48D38D-F107-4C66-BA44-C05EBA0D66A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832914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Le credenziali sono un acceleratore potente per l'adozione, perché creano fiducia e una base di competenze condivisa. Le Abilità applicate certificano la padronanza pratica con brevi lab basati su scenari, mentre le Certificazioni attestano una conoscenza più ampia tramite esami supervisionati. Se state costruendo una community di champion o maker, spingere qualcuno a prendere queste credenziali aiuta ad alzare l'asticell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92E7E-9A7E-44F7-9F42-1F706877C39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994960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Ci avviamo a chiudere. Tiriamo le fila con i prossimi passi pratici e i link migliori da condividere con i vostri team.</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9:1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41495818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Se volete mantenere lo slancio, il sito Customer Hub è il punto di riferimento: lì trovate le prossime sessioni, gli aggiornamenti e tutti i contenuti on-demand. È anche un link facile da condividere, così i colleghi possono esplorare le sessioni più adatte ai loro ruoli.</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9:1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8474197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r>
              <a:rPr lang="it-IT" dirty="0"/>
              <a:t>Ricordiamo che non siete soli: Microsoft mette a disposizione diversi percorsi per accelerare il time-to-value. Potete affidarvi ai partner certificati per i progetti di adozione più complessi, ai clienti idonei offriamo l'assistenza di FastTrack, e con il contratto Unified potete contare sull'aiuto di Cloud Solution Architect come me e Lorenzo nelle attività quotidia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84FA68-8F4B-422B-AD27-9639E86175E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99164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r>
              <a:rPr lang="it-IT" dirty="0"/>
              <a:t>Mi presento: sono Claudio Valentini, Cloud Solution Architect, e oggi sono in compagnia di Lorenzo Albani, che modera e tiene d'occhio la chat. Se fate una domanda e non vedete subito la risposta non preoccupatevi: stiamo monitorando tutto e rispondiamo ai temi che tornano più spess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9:1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0701530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Bene, apriamo le domande e risposte. Se volete intervenire dal vivo alzate la mano e vi diamo la parola per attivare il microfono. In alternativa continuate pure a scrivere in chat: cercheremo di rispondere a quanti più messaggi possibil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9:1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0134728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Prima di salutarci vi chiediamo un favore: lasciateci un feedback. Ci aiuta davvero a migliorare l'esperienza del Customer Hub e a dare forma alle prossime sessioni in base a ciò che vi è più utile. Trovate il link al sondaggio qui, vi ruba solo un minut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9:1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22832536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Grazie ancora per aver partecipato, apprezziamo molto il tempo che ci avete dedicato. Speriamo portiate a casa strumenti concreti per accelerare l'adozione degli agenti e risorse chiare per il prossimo passo. Buon proseguimento e alla prossima!</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9:1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324326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Una nota organizzativa veloce. Durante la presentazione teniamo i microfoni disattivati per andare spediti con i contenuti; voi intanto scrivete le domande in chat e le raccogliamo man mano. Alla fine apriamo i microfoni per le domande dal vivo: chi vuole alza la mano e gli diamo la parola.</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9:1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0005433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r>
              <a:rPr lang="it-IT" dirty="0"/>
              <a:t>Diamo un'occhiata all'agenda. Partiamo dagli agenti e dai loro percorsi di sviluppo, poi vediamo che valore portano in azienda e come governarne l'utilizzo. Chiudiamo con materiali, formazione aggiuntiva e tutte le risorse utili da portare al vostro team.</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9:1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766570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Entriamo nel vivo: in questa prima parte capiamo cosa sono gli agenti e come nascono. L'idea è darvi una base concreta su cui ragionare prima di passare al valore e alla governanc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9:1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20188136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it-IT" dirty="0"/>
              <a:t>Ogni giorno ci appoggiamo a Copilot e alla sua chat come assistente generalista, ma proprio perché è generalista perde efficacia sui compiti molto specifici o legati a un processo aziendale. Lì serve un assistente specializzato, che coglie subito il contesto e dà una risposta mirata e ad alto valore. È lo stesso salto già vissuto con gli smartphone, passando dai software tradizionali alle app: pensate a Copilot come allo smartphone e agli agenti come alle sue app. In sostanza, gli agenti sono le nuove app per un mondo basato sull'IA.</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7697B-B06F-0A53-0123-EAAD9C80DC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14A932-5F93-EB39-6180-6DFC512E7E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7BAA77-EDFE-11A8-4501-16C6A8F2BD0B}"/>
              </a:ext>
            </a:extLst>
          </p:cNvPr>
          <p:cNvSpPr>
            <a:spLocks noGrp="1"/>
          </p:cNvSpPr>
          <p:nvPr>
            <p:ph type="body" idx="1"/>
          </p:nvPr>
        </p:nvSpPr>
        <p:spPr/>
        <p:txBody>
          <a:bodyPr/>
          <a:lstStyle/>
          <a:p>
            <a:r>
              <a:rPr lang="it-IT" dirty="0"/>
              <a:t>Vediamo come nasce un agente, seguendo un percorso che va dal più semplice al più strutturato. L'utente può crearsi agenti per la propria produttività personale direttamente nella chat di Copilot o in SharePoint. Il maker, con un po' di formazione ma senza saper programmare, usa strumenti come Copilot Studio per soluzioni più complesse, rilasciate sotto il controllo dell'IT. Il developer, infine, costruisce applicazioni enterprise pro-code da integrare nel parco software aziendale. E tutto eredita le protezioni di sicurezza, privacy e controllo dei dati già presenti in Microsoft 365.</a:t>
            </a:r>
          </a:p>
        </p:txBody>
      </p:sp>
      <p:sp>
        <p:nvSpPr>
          <p:cNvPr id="4" name="Slide Number Placeholder 3">
            <a:extLst>
              <a:ext uri="{FF2B5EF4-FFF2-40B4-BE49-F238E27FC236}">
                <a16:creationId xmlns:a16="http://schemas.microsoft.com/office/drawing/2014/main" id="{251156AC-B0F6-A2B3-5721-210FB75EC5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86861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Perché usare un agente e non semplicemente la chat? Perché l'agente è consapevole del contesto specifico per cui lo creiamo. La complessità cresce per gradi: si parte dalla raccolta dati da fonti note, pensate a un agente HR che risponde alle domande frequenti; si passa all'esecuzione di task, come generare un documento o aprire una richiesta in un sistema; fino alle azioni autonome, dove l'agente si attiva da solo riconoscendo un trigger. Più capacità aggiungiamo, più valore otteniamo, ma cresce anche lo sforzo di sviluppo.</a:t>
            </a:r>
          </a:p>
        </p:txBody>
      </p:sp>
      <p:sp>
        <p:nvSpPr>
          <p:cNvPr id="4" name="Slide Number Placeholder 3"/>
          <p:cNvSpPr>
            <a:spLocks noGrp="1"/>
          </p:cNvSpPr>
          <p:nvPr>
            <p:ph type="sldNum" sz="quarter" idx="5"/>
          </p:nvPr>
        </p:nvSpPr>
        <p:spPr/>
        <p:txBody>
          <a:bodyPr/>
          <a:lstStyle/>
          <a:p>
            <a:fld id="{C496C0B6-D558-45A9-AA5C-4B0C7776B6D8}" type="slidenum">
              <a:rPr lang="en-GB" smtClean="0"/>
              <a:t>9</a:t>
            </a:fld>
            <a:endParaRPr lang="en-GB"/>
          </a:p>
        </p:txBody>
      </p:sp>
    </p:spTree>
    <p:extLst>
      <p:ext uri="{BB962C8B-B14F-4D97-AF65-F5344CB8AC3E}">
        <p14:creationId xmlns:p14="http://schemas.microsoft.com/office/powerpoint/2010/main" val="22381185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5.sv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emf"/><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2.xml"/><Relationship Id="rId4" Type="http://schemas.microsoft.com/office/2007/relationships/hdphoto" Target="../media/hdphoto3.wdp"/></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2.sv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2.xml"/><Relationship Id="rId4" Type="http://schemas.openxmlformats.org/officeDocument/2006/relationships/image" Target="../media/image32.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84.png"/><Relationship Id="rId1" Type="http://schemas.openxmlformats.org/officeDocument/2006/relationships/slideMaster" Target="../slideMasters/slideMaster2.xml"/><Relationship Id="rId4" Type="http://schemas.openxmlformats.org/officeDocument/2006/relationships/image" Target="../media/image32.pn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7.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2.xml"/><Relationship Id="rId5" Type="http://schemas.openxmlformats.org/officeDocument/2006/relationships/image" Target="../media/image44.jpeg"/><Relationship Id="rId4" Type="http://schemas.openxmlformats.org/officeDocument/2006/relationships/image" Target="../media/image43.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Master" Target="../slideMasters/slideMaster2.xml"/><Relationship Id="rId4" Type="http://schemas.openxmlformats.org/officeDocument/2006/relationships/image" Target="../media/image49.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2.xml"/><Relationship Id="rId5" Type="http://schemas.openxmlformats.org/officeDocument/2006/relationships/image" Target="../media/image53.jpeg"/><Relationship Id="rId4" Type="http://schemas.openxmlformats.org/officeDocument/2006/relationships/image" Target="../media/image52.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2.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2.xml"/><Relationship Id="rId4" Type="http://schemas.openxmlformats.org/officeDocument/2006/relationships/image" Target="../media/image6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2.xml"/><Relationship Id="rId5" Type="http://schemas.openxmlformats.org/officeDocument/2006/relationships/image" Target="../media/image62.jpeg"/><Relationship Id="rId4" Type="http://schemas.openxmlformats.org/officeDocument/2006/relationships/image" Target="../media/image61.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2.x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65.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2.xml"/><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2.sv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84.png"/><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5.sv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0.png"/><Relationship Id="rId1" Type="http://schemas.openxmlformats.org/officeDocument/2006/relationships/slideMaster" Target="../slideMasters/slideMaster3.xml"/><Relationship Id="rId4" Type="http://schemas.openxmlformats.org/officeDocument/2006/relationships/image" Target="../media/image91.pn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em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92.emf"/><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92.emf"/><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92.emf"/><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image" Target="../media/image94.pn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image" Target="../media/image95.png"/><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image" Target="../media/image96.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image" Target="../media/image97.pn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92.emf"/><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2.emf"/><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svg"/><Relationship Id="rId1" Type="http://schemas.openxmlformats.org/officeDocument/2006/relationships/slideMaster" Target="../slideMasters/slideMaster5.xml"/><Relationship Id="rId4" Type="http://schemas.openxmlformats.org/officeDocument/2006/relationships/image" Target="../media/image102.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slideMaster" Target="../slideMasters/slideMaster5.xml"/><Relationship Id="rId1" Type="http://schemas.openxmlformats.org/officeDocument/2006/relationships/tags" Target="../tags/tag3.xml"/><Relationship Id="rId4" Type="http://schemas.openxmlformats.org/officeDocument/2006/relationships/image" Target="../media/image99.png"/></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00.sv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03.svg"/><Relationship Id="rId2" Type="http://schemas.openxmlformats.org/officeDocument/2006/relationships/image" Target="../media/image29.svg"/><Relationship Id="rId1" Type="http://schemas.openxmlformats.org/officeDocument/2006/relationships/slideMaster" Target="../slideMasters/slideMaster5.xml"/><Relationship Id="rId4" Type="http://schemas.openxmlformats.org/officeDocument/2006/relationships/image" Target="../media/image10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22.emf"/></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sv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sv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03.svg"/><Relationship Id="rId2" Type="http://schemas.openxmlformats.org/officeDocument/2006/relationships/image" Target="../media/image29.sv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03.svg"/><Relationship Id="rId2" Type="http://schemas.openxmlformats.org/officeDocument/2006/relationships/slideMaster" Target="../slideMasters/slideMaster5.xml"/><Relationship Id="rId1" Type="http://schemas.openxmlformats.org/officeDocument/2006/relationships/tags" Target="../tags/tag4.xml"/><Relationship Id="rId4" Type="http://schemas.openxmlformats.org/officeDocument/2006/relationships/image" Target="../media/image29.sv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slideMaster" Target="../slideMasters/slideMaster5.xml"/><Relationship Id="rId1" Type="http://schemas.openxmlformats.org/officeDocument/2006/relationships/tags" Target="../tags/tag5.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slideMaster" Target="../slideMasters/slideMaster5.xml"/><Relationship Id="rId1" Type="http://schemas.openxmlformats.org/officeDocument/2006/relationships/tags" Target="../tags/tag6.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05.svg"/><Relationship Id="rId2" Type="http://schemas.openxmlformats.org/officeDocument/2006/relationships/slideMaster" Target="../slideMasters/slideMaster5.xml"/><Relationship Id="rId1" Type="http://schemas.openxmlformats.org/officeDocument/2006/relationships/tags" Target="../tags/tag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9.svg"/><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slideMaster" Target="../slideMasters/slideMaster5.xml"/><Relationship Id="rId1" Type="http://schemas.openxmlformats.org/officeDocument/2006/relationships/tags" Target="../tags/tag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slideMaster" Target="../slideMasters/slideMaster5.xml"/><Relationship Id="rId1" Type="http://schemas.openxmlformats.org/officeDocument/2006/relationships/tags" Target="../tags/tag9.xml"/></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Master" Target="../slideMasters/slideMaster5.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28.svg"/><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10.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24.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1.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27.png"/><Relationship Id="rId4" Type="http://schemas.openxmlformats.org/officeDocument/2006/relationships/image" Target="../media/image26.jpeg"/></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7.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2.png"/><Relationship Id="rId7" Type="http://schemas.openxmlformats.org/officeDocument/2006/relationships/image" Target="../media/image10.sv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2.xml"/><Relationship Id="rId4" Type="http://schemas.openxmlformats.org/officeDocument/2006/relationships/image" Target="../media/image32.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2.xml"/><Relationship Id="rId5" Type="http://schemas.openxmlformats.org/officeDocument/2006/relationships/image" Target="../media/image44.jpeg"/><Relationship Id="rId4" Type="http://schemas.openxmlformats.org/officeDocument/2006/relationships/image" Target="../media/image43.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Master" Target="../slideMasters/slideMaster2.xml"/><Relationship Id="rId4" Type="http://schemas.openxmlformats.org/officeDocument/2006/relationships/image" Target="../media/image49.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2.xml"/><Relationship Id="rId5" Type="http://schemas.openxmlformats.org/officeDocument/2006/relationships/image" Target="../media/image53.jpeg"/><Relationship Id="rId4" Type="http://schemas.openxmlformats.org/officeDocument/2006/relationships/image" Target="../media/image52.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2.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2.xml"/><Relationship Id="rId4" Type="http://schemas.openxmlformats.org/officeDocument/2006/relationships/image" Target="../media/image6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7.png"/><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2.xml"/><Relationship Id="rId5" Type="http://schemas.openxmlformats.org/officeDocument/2006/relationships/image" Target="../media/image62.jpeg"/><Relationship Id="rId4" Type="http://schemas.openxmlformats.org/officeDocument/2006/relationships/image" Target="../media/image61.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2.x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65.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B53FBF24-EE52-9152-2D40-87550FF4CB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09893" cy="6858000"/>
          </a:xfrm>
          <a:prstGeom prst="rect">
            <a:avLst/>
          </a:prstGeom>
        </p:spPr>
      </p:pic>
      <p:pic>
        <p:nvPicPr>
          <p:cNvPr id="6" name="Picture 5" descr="A close up of a corner of a paper&#10;&#10;AI-generated content may be incorrect.">
            <a:extLst>
              <a:ext uri="{FF2B5EF4-FFF2-40B4-BE49-F238E27FC236}">
                <a16:creationId xmlns:a16="http://schemas.microsoft.com/office/drawing/2014/main" id="{58082223-228D-0D73-1BE9-2EF2BFACD893}"/>
              </a:ext>
            </a:extLst>
          </p:cNvPr>
          <p:cNvPicPr>
            <a:picLocks noChangeAspect="1"/>
          </p:cNvPicPr>
          <p:nvPr userDrawn="1"/>
        </p:nvPicPr>
        <p:blipFill>
          <a:blip r:embed="rId3">
            <a:alphaModFix amt="85000"/>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835" t="-3489" r="308" b="3489"/>
          <a:stretch>
            <a:fillRect/>
          </a:stretch>
        </p:blipFill>
        <p:spPr>
          <a:xfrm rot="5400000" flipV="1">
            <a:off x="5793471" y="281511"/>
            <a:ext cx="6730538" cy="6125480"/>
          </a:xfrm>
          <a:prstGeom prst="rect">
            <a:avLst/>
          </a:prstGeom>
        </p:spPr>
      </p:pic>
      <p:pic>
        <p:nvPicPr>
          <p:cNvPr id="9" name="Graphic 8">
            <a:extLst>
              <a:ext uri="{FF2B5EF4-FFF2-40B4-BE49-F238E27FC236}">
                <a16:creationId xmlns:a16="http://schemas.microsoft.com/office/drawing/2014/main" id="{2D81F35F-51EF-1A05-D21F-30E9EB908F3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13" name="Picture 12">
            <a:extLst>
              <a:ext uri="{FF2B5EF4-FFF2-40B4-BE49-F238E27FC236}">
                <a16:creationId xmlns:a16="http://schemas.microsoft.com/office/drawing/2014/main" id="{5349DB46-2E1F-33DC-CBA7-D279F98549A8}"/>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B0CEF29F-AD69-0E43-342A-9B87F2F60C02}"/>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B3CE10E-3DEF-3797-28AD-A45FD0739AA4}"/>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149975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6">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r="30488" b="42725"/>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t="14771" r="11937"/>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98301" r="96994"/>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11723" t="71799" r="100000" b="1699"/>
          <a:stretch>
            <a:fill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5" name="Title Placeholder 1">
            <a:extLst>
              <a:ext uri="{FF2B5EF4-FFF2-40B4-BE49-F238E27FC236}">
                <a16:creationId xmlns:a16="http://schemas.microsoft.com/office/drawing/2014/main" id="{ABB3877C-3695-9A63-E3CF-23A2DD86137C}"/>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93548173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2899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30966884"/>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7350762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a:lum bright="10000"/>
            <a:extLst>
              <a:ext uri="{96DAC541-7B7A-43D3-8B79-37D633B846F1}">
                <asvg:svgBlip xmlns:asvg="http://schemas.microsoft.com/office/drawing/2016/SVG/main" r:embed="rId3"/>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1196446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414427982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058423349"/>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23306972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1026492528"/>
      </p:ext>
    </p:extLst>
  </p:cSld>
  <p:clrMapOvr>
    <a:masterClrMapping/>
  </p:clrMapOvr>
  <p:transition>
    <p:fade/>
  </p:transition>
  <p:hf sldNum="0" hdr="0" ftr="0" dt="0"/>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845083654"/>
      </p:ext>
    </p:extLst>
  </p:cSld>
  <p:clrMapOvr>
    <a:masterClrMapping/>
  </p:clrMapOvr>
  <p:transition>
    <p:fade/>
  </p:transition>
  <p:hf sldNum="0" hdr="0" ftr="0" dt="0"/>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3579170826"/>
      </p:ext>
    </p:extLst>
  </p:cSld>
  <p:clrMapOvr>
    <a:masterClrMapping/>
  </p:clrMapOvr>
  <p:transition>
    <p:fade/>
  </p:transition>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28860" t="-246" r="1843" b="356"/>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4" name="Picture 3" descr="A close up of a corner of a paper&#10;&#10;AI-generated content may be incorrect.">
            <a:extLst>
              <a:ext uri="{FF2B5EF4-FFF2-40B4-BE49-F238E27FC236}">
                <a16:creationId xmlns:a16="http://schemas.microsoft.com/office/drawing/2014/main" id="{738AF8BF-88B4-941B-796C-002169F5D81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40746" t="4251" r="284" b="4637"/>
          <a:stretch>
            <a:fillRect/>
          </a:stretch>
        </p:blipFill>
        <p:spPr>
          <a:xfrm rot="10800000" flipH="1" flipV="1">
            <a:off x="-4" y="4289179"/>
            <a:ext cx="4267201" cy="2391535"/>
          </a:xfrm>
          <a:prstGeom prst="rect">
            <a:avLst/>
          </a:pr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hasCustomPrompt="1"/>
          </p:nvPr>
        </p:nvSpPr>
        <p:spPr>
          <a:xfrm>
            <a:off x="5178287"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
        <p:nvSpPr>
          <p:cNvPr id="5" name="Text Placeholder 3">
            <a:extLst>
              <a:ext uri="{FF2B5EF4-FFF2-40B4-BE49-F238E27FC236}">
                <a16:creationId xmlns:a16="http://schemas.microsoft.com/office/drawing/2014/main" id="{481F9AB0-2AFF-1686-C6D2-FA4E95E9CF7A}"/>
              </a:ext>
            </a:extLst>
          </p:cNvPr>
          <p:cNvSpPr>
            <a:spLocks noGrp="1"/>
          </p:cNvSpPr>
          <p:nvPr>
            <p:ph idx="10" hasCustomPrompt="1"/>
          </p:nvPr>
        </p:nvSpPr>
        <p:spPr>
          <a:xfrm>
            <a:off x="8873985"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0" name="Text Placeholder 3">
            <a:extLst>
              <a:ext uri="{FF2B5EF4-FFF2-40B4-BE49-F238E27FC236}">
                <a16:creationId xmlns:a16="http://schemas.microsoft.com/office/drawing/2014/main" id="{E521278D-83E6-60F0-DE85-9BBB167AD000}"/>
              </a:ext>
            </a:extLst>
          </p:cNvPr>
          <p:cNvSpPr>
            <a:spLocks noGrp="1"/>
          </p:cNvSpPr>
          <p:nvPr>
            <p:ph idx="11" hasCustomPrompt="1"/>
          </p:nvPr>
        </p:nvSpPr>
        <p:spPr>
          <a:xfrm>
            <a:off x="5178287"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1" name="Text Placeholder 3">
            <a:extLst>
              <a:ext uri="{FF2B5EF4-FFF2-40B4-BE49-F238E27FC236}">
                <a16:creationId xmlns:a16="http://schemas.microsoft.com/office/drawing/2014/main" id="{A21CEE09-B3B0-47A7-6B86-65FF85C6967C}"/>
              </a:ext>
            </a:extLst>
          </p:cNvPr>
          <p:cNvSpPr>
            <a:spLocks noGrp="1"/>
          </p:cNvSpPr>
          <p:nvPr>
            <p:ph idx="12" hasCustomPrompt="1"/>
          </p:nvPr>
        </p:nvSpPr>
        <p:spPr>
          <a:xfrm>
            <a:off x="8873985"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4" name="Text Placeholder 3">
            <a:extLst>
              <a:ext uri="{FF2B5EF4-FFF2-40B4-BE49-F238E27FC236}">
                <a16:creationId xmlns:a16="http://schemas.microsoft.com/office/drawing/2014/main" id="{45337E61-848B-2D2F-C9C0-746F07AA0467}"/>
              </a:ext>
            </a:extLst>
          </p:cNvPr>
          <p:cNvSpPr>
            <a:spLocks noGrp="1"/>
          </p:cNvSpPr>
          <p:nvPr>
            <p:ph idx="13" hasCustomPrompt="1"/>
          </p:nvPr>
        </p:nvSpPr>
        <p:spPr>
          <a:xfrm>
            <a:off x="5178287"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5" name="Text Placeholder 3">
            <a:extLst>
              <a:ext uri="{FF2B5EF4-FFF2-40B4-BE49-F238E27FC236}">
                <a16:creationId xmlns:a16="http://schemas.microsoft.com/office/drawing/2014/main" id="{C23AA298-3C87-59E0-54D9-D70EB4EF262F}"/>
              </a:ext>
            </a:extLst>
          </p:cNvPr>
          <p:cNvSpPr>
            <a:spLocks noGrp="1"/>
          </p:cNvSpPr>
          <p:nvPr>
            <p:ph idx="14" hasCustomPrompt="1"/>
          </p:nvPr>
        </p:nvSpPr>
        <p:spPr>
          <a:xfrm>
            <a:off x="8873985"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Tree>
    <p:extLst>
      <p:ext uri="{BB962C8B-B14F-4D97-AF65-F5344CB8AC3E}">
        <p14:creationId xmlns:p14="http://schemas.microsoft.com/office/powerpoint/2010/main" val="13827527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8308518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26646680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80171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361257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40716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pic>
        <p:nvPicPr>
          <p:cNvPr id="2" name="MS logo gray - EMF">
            <a:extLst>
              <a:ext uri="{FF2B5EF4-FFF2-40B4-BE49-F238E27FC236}">
                <a16:creationId xmlns:a16="http://schemas.microsoft.com/office/drawing/2014/main" id="{417DF7B2-975E-FBC1-FF54-4C68DE559E60}"/>
              </a:ext>
            </a:extLst>
          </p:cNvPr>
          <p:cNvPicPr>
            <a:picLocks noChangeAspect="1"/>
          </p:cNvPicPr>
          <p:nvPr userDrawn="1"/>
        </p:nvPicPr>
        <p:blipFill rotWithShape="1">
          <a:blip r:embed="rId4"/>
          <a:srcRect l="11451" t="32475" r="10216" b="33708"/>
          <a:stretch/>
        </p:blipFill>
        <p:spPr bwMode="black">
          <a:xfrm>
            <a:off x="567055" y="581977"/>
            <a:ext cx="1854200" cy="294217"/>
          </a:xfrm>
          <a:prstGeom prst="rect">
            <a:avLst/>
          </a:prstGeom>
        </p:spPr>
      </p:pic>
    </p:spTree>
    <p:extLst>
      <p:ext uri="{BB962C8B-B14F-4D97-AF65-F5344CB8AC3E}">
        <p14:creationId xmlns:p14="http://schemas.microsoft.com/office/powerpoint/2010/main" val="3167849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5" orient="horz" pos="2448">
          <p15:clr>
            <a:srgbClr val="5ACBF0"/>
          </p15:clr>
        </p15:guide>
        <p15:guide id="6" orient="horz" pos="216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pic>
        <p:nvPicPr>
          <p:cNvPr id="2" name="MS logo gray - EMF">
            <a:extLst>
              <a:ext uri="{FF2B5EF4-FFF2-40B4-BE49-F238E27FC236}">
                <a16:creationId xmlns:a16="http://schemas.microsoft.com/office/drawing/2014/main" id="{07DBAF71-C51B-9579-3E81-10245177A8F0}"/>
              </a:ext>
            </a:extLst>
          </p:cNvPr>
          <p:cNvPicPr>
            <a:picLocks noChangeAspect="1"/>
          </p:cNvPicPr>
          <p:nvPr userDrawn="1"/>
        </p:nvPicPr>
        <p:blipFill rotWithShape="1">
          <a:blip r:embed="rId4"/>
          <a:srcRect l="11451" t="32475" r="10216" b="33708"/>
          <a:stretch/>
        </p:blipFill>
        <p:spPr bwMode="black">
          <a:xfrm>
            <a:off x="567055" y="581977"/>
            <a:ext cx="1854200" cy="294217"/>
          </a:xfrm>
          <a:prstGeom prst="rect">
            <a:avLst/>
          </a:prstGeom>
        </p:spPr>
      </p:pic>
    </p:spTree>
    <p:extLst>
      <p:ext uri="{BB962C8B-B14F-4D97-AF65-F5344CB8AC3E}">
        <p14:creationId xmlns:p14="http://schemas.microsoft.com/office/powerpoint/2010/main" val="3962446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293968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41388512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238736282"/>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28860" t="-246" r="1843" b="356"/>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7" name="Picture 6" descr="A colorful curved object on a black background&#10;&#10;AI-generated content may be incorrect.">
            <a:extLst>
              <a:ext uri="{FF2B5EF4-FFF2-40B4-BE49-F238E27FC236}">
                <a16:creationId xmlns:a16="http://schemas.microsoft.com/office/drawing/2014/main" id="{0B19AD7D-AD70-629E-3C43-4550DB340BB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38580" t="9128" r="-26999" b="13405"/>
          <a:stretch>
            <a:fillRect/>
          </a:stretch>
        </p:blipFill>
        <p:spPr>
          <a:xfrm rot="14957738">
            <a:off x="-1612069" y="511985"/>
            <a:ext cx="7143866" cy="6393705"/>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8" name="Text Placeholder 3">
            <a:extLst>
              <a:ext uri="{FF2B5EF4-FFF2-40B4-BE49-F238E27FC236}">
                <a16:creationId xmlns:a16="http://schemas.microsoft.com/office/drawing/2014/main" id="{1237AE35-A655-4E3E-2695-F11A2D8F4871}"/>
              </a:ext>
            </a:extLst>
          </p:cNvPr>
          <p:cNvSpPr>
            <a:spLocks noGrp="1"/>
          </p:cNvSpPr>
          <p:nvPr>
            <p:ph idx="1"/>
          </p:nvPr>
        </p:nvSpPr>
        <p:spPr>
          <a:xfrm>
            <a:off x="6091332" y="1441655"/>
            <a:ext cx="5511388" cy="2499146"/>
          </a:xfrm>
          <a:prstGeom prst="rect">
            <a:avLst/>
          </a:prstGeom>
        </p:spPr>
        <p:txBody>
          <a:bodyPr vert="horz" wrap="square" lIns="0" tIns="0" rIns="0" bIns="0" rtlCol="0">
            <a:spAutoFit/>
          </a:bodyPr>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EDA46B1-A4F7-91DB-14EA-5ACDCE48E9BA}"/>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Tree>
    <p:extLst>
      <p:ext uri="{BB962C8B-B14F-4D97-AF65-F5344CB8AC3E}">
        <p14:creationId xmlns:p14="http://schemas.microsoft.com/office/powerpoint/2010/main" val="228772451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3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3677972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33824467"/>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3716615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1_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538306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56190049"/>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04559529"/>
      </p:ext>
    </p:extLst>
  </p:cSld>
  <p:clrMapOvr>
    <a:masterClrMapping/>
  </p:clrMapOvr>
  <p:transition>
    <p:fade/>
  </p:transition>
  <p:hf sldNum="0"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1_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14093017"/>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1_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44888002"/>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7011959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5172891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28860" t="-246" r="1843" b="356"/>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178287" y="605657"/>
            <a:ext cx="6442213" cy="1465016"/>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605657"/>
            <a:ext cx="2482166"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9842472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40837751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990833727"/>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769742568"/>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2"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2825979538"/>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2151351645"/>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0766463"/>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0189249"/>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07657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quare Photo ">
    <p:bg>
      <p:bgPr>
        <a:solidFill>
          <a:srgbClr val="E8E6DF"/>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84498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647564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ckground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4745"/>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009879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3717347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020770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1_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95022868-438E-0425-1E2F-E3CA98A24C9D}"/>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9457954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1_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D74BE50D-5B54-A22C-D2CC-36B8C81A6E3E}"/>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803817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D14AE2C3-2595-B28F-ED74-F11926B0EA6F}"/>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0627261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E1FAA60A-6D47-46B4-4185-0612BBBE824C}"/>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169068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2C596C1F-49AF-6E09-4EC6-99BF725CA797}"/>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217052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_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DF111299-A0DA-4461-EFA1-CCF381B32734}"/>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31592906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1_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9A8AE7F2-3F82-90E8-F621-A5FC460EE179}"/>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1660255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_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AA0A6071-33FD-E739-28BB-6193E600FA06}"/>
              </a:ext>
            </a:extLst>
          </p:cNvPr>
          <p:cNvSpPr/>
          <p:nvPr userDrawn="1"/>
        </p:nvSpPr>
        <p:spPr bwMode="auto">
          <a:xfrm>
            <a:off x="0" y="3429000"/>
            <a:ext cx="12192000" cy="34290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2776696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ckground 2">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81C1390B-DA6C-0C43-6516-B4F79B35830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4745"/>
          <a:stretch>
            <a:fillRect/>
          </a:stretch>
        </p:blipFill>
        <p:spPr>
          <a:xfrm>
            <a:off x="0" y="1"/>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2D2FB8B6-DDDF-697C-B70D-3ADE6D7DB1E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00088318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1_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4D1B81F5-DF32-2C36-2222-0AD5F9CB7EA1}"/>
              </a:ext>
            </a:extLst>
          </p:cNvPr>
          <p:cNvSpPr/>
          <p:nvPr userDrawn="1"/>
        </p:nvSpPr>
        <p:spPr bwMode="auto">
          <a:xfrm>
            <a:off x="0" y="3429000"/>
            <a:ext cx="12192000" cy="34290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052028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1_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49EEFFBA-493B-8CD4-7867-74D50499369B}"/>
              </a:ext>
            </a:extLst>
          </p:cNvPr>
          <p:cNvSpPr/>
          <p:nvPr userDrawn="1"/>
        </p:nvSpPr>
        <p:spPr bwMode="auto">
          <a:xfrm>
            <a:off x="0" y="3149600"/>
            <a:ext cx="12192000" cy="37084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63466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62379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403422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_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218813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007201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0907560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_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280744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1_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0897783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8864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ckground 3">
    <p:spTree>
      <p:nvGrpSpPr>
        <p:cNvPr id="1" name=""/>
        <p:cNvGrpSpPr/>
        <p:nvPr/>
      </p:nvGrpSpPr>
      <p:grpSpPr>
        <a:xfrm>
          <a:off x="0" y="0"/>
          <a:ext cx="0" cy="0"/>
          <a:chOff x="0" y="0"/>
          <a:chExt cx="0" cy="0"/>
        </a:xfrm>
      </p:grpSpPr>
      <p:pic>
        <p:nvPicPr>
          <p:cNvPr id="3" name="Picture 2" descr="A blue and red background&#10;&#10;AI-generated content may be incorrect.">
            <a:extLst>
              <a:ext uri="{FF2B5EF4-FFF2-40B4-BE49-F238E27FC236}">
                <a16:creationId xmlns:a16="http://schemas.microsoft.com/office/drawing/2014/main" id="{BBFC8868-BCF8-2EF4-AE9B-8641F358F3F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1345" b="4744"/>
          <a:stretch>
            <a:fillRect/>
          </a:stretch>
        </p:blipFill>
        <p:spPr>
          <a:xfrm>
            <a:off x="0" y="0"/>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17832389-BBB4-D415-2E01-214D01BA99EF}"/>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3772319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_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834703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1_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799815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176075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3446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3629000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guide id="5" orient="horz" pos="2232">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_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9541500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guide id="5" orient="horz" pos="223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19866029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_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073905638"/>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_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350884057"/>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_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117758624"/>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ckground 4">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E3AEC7EF-E1D3-2298-1DBE-67672CD44B5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576" b="4818"/>
          <a:stretch>
            <a:fillRect/>
          </a:stretch>
        </p:blipFill>
        <p:spPr>
          <a:xfrm>
            <a:off x="-9334" y="1"/>
            <a:ext cx="12201333"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90CC1B2A-918B-0FDA-2DDE-31F074644669}"/>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00196029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32767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_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19550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_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23787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9354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_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9833269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6513967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1_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a:lum bright="10000"/>
            <a:extLst>
              <a:ext uri="{96DAC541-7B7A-43D3-8B79-37D633B846F1}">
                <asvg:svgBlip xmlns:asvg="http://schemas.microsoft.com/office/drawing/2016/SVG/main" r:embed="rId3"/>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2696216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64971167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1_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450549412"/>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1_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40184135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ckground 5">
    <p:spTree>
      <p:nvGrpSpPr>
        <p:cNvPr id="1" name=""/>
        <p:cNvGrpSpPr/>
        <p:nvPr/>
      </p:nvGrpSpPr>
      <p:grpSpPr>
        <a:xfrm>
          <a:off x="0" y="0"/>
          <a:ext cx="0" cy="0"/>
          <a:chOff x="0" y="0"/>
          <a:chExt cx="0" cy="0"/>
        </a:xfrm>
      </p:grpSpPr>
      <p:pic>
        <p:nvPicPr>
          <p:cNvPr id="2" name="Picture 1" descr="A blue and black background&#10;&#10;AI-generated content may be incorrect.">
            <a:extLst>
              <a:ext uri="{FF2B5EF4-FFF2-40B4-BE49-F238E27FC236}">
                <a16:creationId xmlns:a16="http://schemas.microsoft.com/office/drawing/2014/main" id="{01333BD5-0115-B424-BB58-BBB0B87C1CE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1042" b="4818"/>
          <a:stretch>
            <a:fillRect/>
          </a:stretch>
        </p:blipFill>
        <p:spPr>
          <a:xfrm>
            <a:off x="-1" y="0"/>
            <a:ext cx="12201331"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itle 1">
            <a:extLst>
              <a:ext uri="{FF2B5EF4-FFF2-40B4-BE49-F238E27FC236}">
                <a16:creationId xmlns:a16="http://schemas.microsoft.com/office/drawing/2014/main" id="{847134EB-8BAD-722F-C9AD-CF4EF682FF56}"/>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9420795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1015536063"/>
      </p:ext>
    </p:extLst>
  </p:cSld>
  <p:clrMapOvr>
    <a:masterClrMapping/>
  </p:clrMapOvr>
  <p:transition>
    <p:fade/>
  </p:transition>
  <p:hf sldNum="0" hdr="0" ftr="0" dt="0"/>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1_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3031806575"/>
      </p:ext>
    </p:extLst>
  </p:cSld>
  <p:clrMapOvr>
    <a:masterClrMapping/>
  </p:clrMapOvr>
  <p:transition>
    <p:fade/>
  </p:transition>
  <p:hf sldNum="0" hdr="0" ftr="0" dt="0"/>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1_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434002975"/>
      </p:ext>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1_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3855594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1_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22619610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2507671"/>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392270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80668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0B456-0107-7B40-4363-8E8B3B4C430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1E6557E-72B6-06DC-5F1A-B18C305BA29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63ABC8-B495-907F-64F4-66330E892343}"/>
              </a:ext>
            </a:extLst>
          </p:cNvPr>
          <p:cNvSpPr>
            <a:spLocks noGrp="1"/>
          </p:cNvSpPr>
          <p:nvPr>
            <p:ph type="dt" sz="half" idx="10"/>
          </p:nvPr>
        </p:nvSpPr>
        <p:spPr/>
        <p:txBody>
          <a:bodyPr/>
          <a:lstStyle/>
          <a:p>
            <a:fld id="{16750FD4-990D-4DE3-8F86-29E9A81E6C7F}" type="datetimeFigureOut">
              <a:rPr lang="en-US" smtClean="0"/>
              <a:t>7/7/2026</a:t>
            </a:fld>
            <a:endParaRPr lang="en-US"/>
          </a:p>
        </p:txBody>
      </p:sp>
      <p:sp>
        <p:nvSpPr>
          <p:cNvPr id="5" name="Footer Placeholder 4">
            <a:extLst>
              <a:ext uri="{FF2B5EF4-FFF2-40B4-BE49-F238E27FC236}">
                <a16:creationId xmlns:a16="http://schemas.microsoft.com/office/drawing/2014/main" id="{F5B7F6E3-8E2D-3159-66A2-43CCA4171B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CE7E98-1751-79BF-D7CE-C72030C7196C}"/>
              </a:ext>
            </a:extLst>
          </p:cNvPr>
          <p:cNvSpPr>
            <a:spLocks noGrp="1"/>
          </p:cNvSpPr>
          <p:nvPr>
            <p:ph type="sldNum" sz="quarter" idx="12"/>
          </p:nvPr>
        </p:nvSpPr>
        <p:spPr/>
        <p:txBody>
          <a:bodyPr/>
          <a:lstStyle/>
          <a:p>
            <a:fld id="{C9607AA5-B594-4705-ADED-96A169EA9731}" type="slidenum">
              <a:rPr lang="en-US" smtClean="0"/>
              <a:t>‹#›</a:t>
            </a:fld>
            <a:endParaRPr lang="en-US"/>
          </a:p>
        </p:txBody>
      </p:sp>
    </p:spTree>
    <p:extLst>
      <p:ext uri="{BB962C8B-B14F-4D97-AF65-F5344CB8AC3E}">
        <p14:creationId xmlns:p14="http://schemas.microsoft.com/office/powerpoint/2010/main" val="115010836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1" name="Picture 10" descr="A blue sky with white clouds&#10;&#10;Description automatically generated">
            <a:extLst>
              <a:ext uri="{FF2B5EF4-FFF2-40B4-BE49-F238E27FC236}">
                <a16:creationId xmlns:a16="http://schemas.microsoft.com/office/drawing/2014/main" id="{79BAFC8C-EB9A-06B0-36D4-AEB224BFA26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1529"/>
            <a:ext cx="12192000" cy="6869529"/>
          </a:xfrm>
          <a:prstGeom prst="rect">
            <a:avLst/>
          </a:prstGeom>
        </p:spPr>
      </p:pic>
      <p:sp>
        <p:nvSpPr>
          <p:cNvPr id="8" name="Rectangle 7">
            <a:extLst>
              <a:ext uri="{FF2B5EF4-FFF2-40B4-BE49-F238E27FC236}">
                <a16:creationId xmlns:a16="http://schemas.microsoft.com/office/drawing/2014/main" id="{108F13F4-2AA0-2751-9C54-183410D351E2}"/>
              </a:ext>
            </a:extLst>
          </p:cNvPr>
          <p:cNvSpPr/>
          <p:nvPr userDrawn="1"/>
        </p:nvSpPr>
        <p:spPr>
          <a:xfrm>
            <a:off x="0" y="0"/>
            <a:ext cx="6616700" cy="6858000"/>
          </a:xfrm>
          <a:prstGeom prst="rect">
            <a:avLst/>
          </a:prstGeom>
          <a:gradFill flip="none" rotWithShape="1">
            <a:gsLst>
              <a:gs pos="26000">
                <a:schemeClr val="bg1">
                  <a:alpha val="58000"/>
                </a:schemeClr>
              </a:gs>
              <a:gs pos="70000">
                <a:schemeClr val="bg1">
                  <a:alpha val="0"/>
                </a:schemeClr>
              </a:gs>
            </a:gsLst>
            <a:path path="circle">
              <a:fillToRect r="100000" b="100000"/>
            </a:path>
            <a:tileRect l="-100000" t="-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 name="Title 15">
            <a:extLst>
              <a:ext uri="{FF2B5EF4-FFF2-40B4-BE49-F238E27FC236}">
                <a16:creationId xmlns:a16="http://schemas.microsoft.com/office/drawing/2014/main" id="{1AB79229-7EF8-8D54-ED6D-2A2E11C74F94}"/>
              </a:ext>
            </a:extLst>
          </p:cNvPr>
          <p:cNvSpPr>
            <a:spLocks noGrp="1"/>
          </p:cNvSpPr>
          <p:nvPr>
            <p:ph type="title"/>
          </p:nvPr>
        </p:nvSpPr>
        <p:spPr>
          <a:xfrm>
            <a:off x="389121" y="3202170"/>
            <a:ext cx="7683500" cy="895065"/>
          </a:xfrm>
        </p:spPr>
        <p:txBody>
          <a:bodyPr/>
          <a:lstStyle>
            <a:lvl1pPr>
              <a:defRPr>
                <a:solidFill>
                  <a:srgbClr val="463668"/>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739346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ckground 6">
    <p:spTree>
      <p:nvGrpSpPr>
        <p:cNvPr id="1" name=""/>
        <p:cNvGrpSpPr/>
        <p:nvPr/>
      </p:nvGrpSpPr>
      <p:grpSpPr>
        <a:xfrm>
          <a:off x="0" y="0"/>
          <a:ext cx="0" cy="0"/>
          <a:chOff x="0" y="0"/>
          <a:chExt cx="0" cy="0"/>
        </a:xfrm>
      </p:grpSpPr>
      <p:pic>
        <p:nvPicPr>
          <p:cNvPr id="3" name="Picture 2" descr="A blue background with a light&#10;&#10;AI-generated content may be incorrect.">
            <a:extLst>
              <a:ext uri="{FF2B5EF4-FFF2-40B4-BE49-F238E27FC236}">
                <a16:creationId xmlns:a16="http://schemas.microsoft.com/office/drawing/2014/main" id="{58CC931A-0D2A-512C-EAB0-14D8857A356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32F7015F-B3C8-994E-AF5D-DEDEF171EB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34605491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6CE7D5-CF57-46EF-B807-FDD0502418D4}" type="datetimeFigureOut">
              <a:rPr lang="en-US" smtClean="0"/>
              <a:pPr/>
              <a:t>7/7/2026</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30EA680-D336-4FF7-8B7A-9848BB0A1C32}" type="slidenum">
              <a:rPr lang="en-US" smtClean="0"/>
              <a:pPr/>
              <a:t>‹#›</a:t>
            </a:fld>
            <a:endParaRPr lang="en-US"/>
          </a:p>
        </p:txBody>
      </p:sp>
    </p:spTree>
    <p:extLst>
      <p:ext uri="{BB962C8B-B14F-4D97-AF65-F5344CB8AC3E}">
        <p14:creationId xmlns:p14="http://schemas.microsoft.com/office/powerpoint/2010/main" val="10791257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9753158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231642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4002232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4839942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219225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945837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8044349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218644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593413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l="3907" t="2396" b="11468"/>
          <a:stretch>
            <a:fillRect/>
          </a:stretch>
        </p:blipFill>
        <p:spPr>
          <a:xfrm>
            <a:off x="-17894" y="0"/>
            <a:ext cx="12209894" cy="6868066"/>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3">
            <a:extLst>
              <a:ext uri="{28A0092B-C50C-407E-A947-70E740481C1C}">
                <a14:useLocalDpi xmlns:a14="http://schemas.microsoft.com/office/drawing/2010/main" val="0"/>
              </a:ext>
            </a:extLst>
          </a:blip>
          <a:srcRect r="33553" b="21301"/>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11581" b="22533"/>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6" name="Graphic 25">
            <a:extLst>
              <a:ext uri="{FF2B5EF4-FFF2-40B4-BE49-F238E27FC236}">
                <a16:creationId xmlns:a16="http://schemas.microsoft.com/office/drawing/2014/main" id="{D68EE504-0061-C86F-7C4A-E4787ED6DEB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F8EC1A4-C990-1806-D162-5E0CA8201959}"/>
              </a:ext>
            </a:extLst>
          </p:cNvPr>
          <p:cNvSpPr>
            <a:spLocks noGrp="1"/>
          </p:cNvSpPr>
          <p:nvPr>
            <p:ph type="title"/>
          </p:nvPr>
        </p:nvSpPr>
        <p:spPr>
          <a:xfrm>
            <a:off x="591451" y="2511166"/>
            <a:ext cx="5504550"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65ED941-89EA-A7B1-0F7E-AB2C3A360992}"/>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5985455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ckground 7">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15B616D5-ACB3-F40B-E303-B79FE7D1C934}"/>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56370C7-A3D5-E477-12B1-A448861CBE35}"/>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6447557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417093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17597639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3857496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73459661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955574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936882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994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7/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4257954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4_Custom Layout">
    <p:bg>
      <p:bgPr>
        <a:solidFill>
          <a:srgbClr val="121D2F"/>
        </a:solidFill>
        <a:effectLst/>
      </p:bgPr>
    </p:bg>
    <p:spTree>
      <p:nvGrpSpPr>
        <p:cNvPr id="1" name=""/>
        <p:cNvGrpSpPr/>
        <p:nvPr/>
      </p:nvGrpSpPr>
      <p:grpSpPr>
        <a:xfrm>
          <a:off x="0" y="0"/>
          <a:ext cx="0" cy="0"/>
          <a:chOff x="0" y="0"/>
          <a:chExt cx="0" cy="0"/>
        </a:xfrm>
      </p:grpSpPr>
      <p:pic>
        <p:nvPicPr>
          <p:cNvPr id="3" name="Image 22" descr="Une image contenant capture d’écran, Graphique, noir, conception&#10;&#10;Description générée automatiquement">
            <a:extLst>
              <a:ext uri="{FF2B5EF4-FFF2-40B4-BE49-F238E27FC236}">
                <a16:creationId xmlns:a16="http://schemas.microsoft.com/office/drawing/2014/main" id="{295ED579-CE67-2DC9-E23F-619BB8EBDC40}"/>
              </a:ext>
            </a:extLst>
          </p:cNvPr>
          <p:cNvPicPr>
            <a:picLocks noChangeAspect="1"/>
          </p:cNvPicPr>
          <p:nvPr userDrawn="1"/>
        </p:nvPicPr>
        <p:blipFill>
          <a:blip r:embed="rId2">
            <a:alphaModFix amt="3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994400" y="0"/>
            <a:ext cx="6197600" cy="6858000"/>
          </a:xfrm>
          <a:prstGeom prst="rect">
            <a:avLst/>
          </a:prstGeom>
        </p:spPr>
      </p:pic>
      <p:cxnSp>
        <p:nvCxnSpPr>
          <p:cNvPr id="7" name="Connecteur droit 21">
            <a:extLst>
              <a:ext uri="{FF2B5EF4-FFF2-40B4-BE49-F238E27FC236}">
                <a16:creationId xmlns:a16="http://schemas.microsoft.com/office/drawing/2014/main" id="{9A21FC18-7BB2-93C5-22D8-AA8C2D30395A}"/>
              </a:ext>
            </a:extLst>
          </p:cNvPr>
          <p:cNvCxnSpPr>
            <a:cxnSpLocks/>
          </p:cNvCxnSpPr>
          <p:nvPr userDrawn="1"/>
        </p:nvCxnSpPr>
        <p:spPr>
          <a:xfrm>
            <a:off x="11609388" y="6381328"/>
            <a:ext cx="0" cy="476672"/>
          </a:xfrm>
          <a:prstGeom prst="line">
            <a:avLst/>
          </a:prstGeom>
          <a:ln w="12700">
            <a:solidFill>
              <a:schemeClr val="tx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Image 20">
            <a:extLst>
              <a:ext uri="{FF2B5EF4-FFF2-40B4-BE49-F238E27FC236}">
                <a16:creationId xmlns:a16="http://schemas.microsoft.com/office/drawing/2014/main" id="{7AD73BDA-60A4-A6C7-653E-72A7A1B501F0}"/>
              </a:ext>
            </a:extLst>
          </p:cNvPr>
          <p:cNvPicPr>
            <a:picLocks noChangeAspect="1"/>
          </p:cNvPicPr>
          <p:nvPr userDrawn="1"/>
        </p:nvPicPr>
        <p:blipFill rotWithShape="1">
          <a:blip r:embed="rId4"/>
          <a:srcRect l="-3741" t="-20759" r="52945" b="-5827"/>
          <a:stretch/>
        </p:blipFill>
        <p:spPr>
          <a:xfrm>
            <a:off x="11736000" y="6443999"/>
            <a:ext cx="360000" cy="288000"/>
          </a:xfrm>
          <a:prstGeom prst="rect">
            <a:avLst/>
          </a:prstGeom>
        </p:spPr>
      </p:pic>
    </p:spTree>
    <p:extLst>
      <p:ext uri="{BB962C8B-B14F-4D97-AF65-F5344CB8AC3E}">
        <p14:creationId xmlns:p14="http://schemas.microsoft.com/office/powerpoint/2010/main" val="121837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4" name="Picture 3" descr="Microsoft Learn&#10;Spark possibility">
            <a:extLst>
              <a:ext uri="{FF2B5EF4-FFF2-40B4-BE49-F238E27FC236}">
                <a16:creationId xmlns:a16="http://schemas.microsoft.com/office/drawing/2014/main" id="{5DD74BAF-F737-DF24-4119-69612D6CEE2E}"/>
              </a:ext>
            </a:extLst>
          </p:cNvPr>
          <p:cNvPicPr>
            <a:picLocks noGrp="1" noRot="1" noMove="1" noResize="1" noEditPoints="1" noAdjustHandles="1" noChangeArrowheads="1" noChangeShapeType="1" noCrop="1"/>
          </p:cNvPicPr>
          <p:nvPr userDrawn="1"/>
        </p:nvPicPr>
        <p:blipFill>
          <a:blip r:embed="rId3"/>
          <a:srcRect/>
          <a:stretch/>
        </p:blipFill>
        <p:spPr>
          <a:xfrm>
            <a:off x="223228" y="2573202"/>
            <a:ext cx="5344642" cy="1681957"/>
          </a:xfrm>
          <a:prstGeom prst="rect">
            <a:avLst/>
          </a:prstGeom>
        </p:spPr>
      </p:pic>
    </p:spTree>
    <p:extLst>
      <p:ext uri="{BB962C8B-B14F-4D97-AF65-F5344CB8AC3E}">
        <p14:creationId xmlns:p14="http://schemas.microsoft.com/office/powerpoint/2010/main" val="17050308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ckground 7 Blank">
    <p:spTree>
      <p:nvGrpSpPr>
        <p:cNvPr id="1" name=""/>
        <p:cNvGrpSpPr/>
        <p:nvPr/>
      </p:nvGrpSpPr>
      <p:grpSpPr>
        <a:xfrm>
          <a:off x="0" y="0"/>
          <a:ext cx="0" cy="0"/>
          <a:chOff x="0" y="0"/>
          <a:chExt cx="0" cy="0"/>
        </a:xfrm>
      </p:grpSpPr>
      <p:pic>
        <p:nvPicPr>
          <p:cNvPr id="2" name="Picture 1" descr="A blurry image of a blue and orange sky&#10;&#10;AI-generated content may be incorrect.">
            <a:extLst>
              <a:ext uri="{FF2B5EF4-FFF2-40B4-BE49-F238E27FC236}">
                <a16:creationId xmlns:a16="http://schemas.microsoft.com/office/drawing/2014/main" id="{9B7771B4-CDFD-2B0D-3256-8BD84C94F04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383054059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Walk-in">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12" name="Title 1">
            <a:extLst>
              <a:ext uri="{FF2B5EF4-FFF2-40B4-BE49-F238E27FC236}">
                <a16:creationId xmlns:a16="http://schemas.microsoft.com/office/drawing/2014/main" id="{C419B008-216D-CA1F-2D39-75B36E6A6972}"/>
              </a:ext>
            </a:extLst>
          </p:cNvPr>
          <p:cNvSpPr>
            <a:spLocks noGrp="1"/>
          </p:cNvSpPr>
          <p:nvPr>
            <p:ph type="title" hasCustomPrompt="1"/>
          </p:nvPr>
        </p:nvSpPr>
        <p:spPr>
          <a:xfrm>
            <a:off x="588263" y="2573338"/>
            <a:ext cx="11021125" cy="1676929"/>
          </a:xfrm>
        </p:spPr>
        <p:txBody>
          <a:bodyPr wrap="square" anchor="b" anchorCtr="0">
            <a:noAutofit/>
          </a:bodyPr>
          <a:lstStyle>
            <a:lvl1pPr>
              <a:lnSpc>
                <a:spcPct val="90000"/>
              </a:lnSpc>
              <a:defRPr sz="4800">
                <a:solidFill>
                  <a:schemeClr val="tx1"/>
                </a:solidFill>
              </a:defRPr>
            </a:lvl1pPr>
          </a:lstStyle>
          <a:p>
            <a:r>
              <a:rPr lang="en-US"/>
              <a:t>Microsoft Learn</a:t>
            </a:r>
            <a:br>
              <a:rPr lang="en-US"/>
            </a:br>
            <a:r>
              <a:rPr lang="en-US"/>
              <a:t>presentation title or event name</a:t>
            </a:r>
          </a:p>
        </p:txBody>
      </p:sp>
      <p:sp>
        <p:nvSpPr>
          <p:cNvPr id="13" name="Text Placeholder 4">
            <a:extLst>
              <a:ext uri="{FF2B5EF4-FFF2-40B4-BE49-F238E27FC236}">
                <a16:creationId xmlns:a16="http://schemas.microsoft.com/office/drawing/2014/main" id="{AA0EBFEA-E746-E760-148D-6B55E33CE98B}"/>
              </a:ext>
            </a:extLst>
          </p:cNvPr>
          <p:cNvSpPr>
            <a:spLocks noGrp="1"/>
          </p:cNvSpPr>
          <p:nvPr>
            <p:ph type="body" sz="quarter" idx="12" hasCustomPrompt="1"/>
          </p:nvPr>
        </p:nvSpPr>
        <p:spPr>
          <a:xfrm>
            <a:off x="582043" y="4445908"/>
            <a:ext cx="11021124"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577938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253737" cy="1107996"/>
          </a:xfrm>
        </p:spPr>
        <p:txBody>
          <a:bodyPr wrap="square" anchor="b" anchorCtr="0">
            <a:spAutoFit/>
          </a:bodyPr>
          <a:lstStyle>
            <a:lvl1pPr>
              <a:lnSpc>
                <a:spcPct val="100000"/>
              </a:lnSpc>
              <a:defRPr sz="36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5249572"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918933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25373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5249572"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91043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6A99E2-B1B8-F05E-79FB-6E5F6BA2198F}"/>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1999"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8680865" cy="553998"/>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8673983"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94533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518B55A-6C79-359D-87CF-515B5B5F6EF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1999"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8260462" cy="553998"/>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cxnSp>
        <p:nvCxnSpPr>
          <p:cNvPr id="12" name="Straight Connector 11">
            <a:extLst>
              <a:ext uri="{FF2B5EF4-FFF2-40B4-BE49-F238E27FC236}">
                <a16:creationId xmlns:a16="http://schemas.microsoft.com/office/drawing/2014/main" id="{731143F6-2E66-B7DD-83D0-10E3BEE182CA}"/>
              </a:ext>
              <a:ext uri="{C183D7F6-B498-43B3-948B-1728B52AA6E4}">
                <adec:decorative xmlns:adec="http://schemas.microsoft.com/office/drawing/2017/decorative" val="1"/>
              </a:ext>
            </a:extLst>
          </p:cNvPr>
          <p:cNvCxnSpPr>
            <a:cxnSpLocks/>
          </p:cNvCxnSpPr>
          <p:nvPr userDrawn="1"/>
        </p:nvCxnSpPr>
        <p:spPr>
          <a:xfrm>
            <a:off x="585216" y="3915473"/>
            <a:ext cx="3182112" cy="0"/>
          </a:xfrm>
          <a:prstGeom prst="line">
            <a:avLst/>
          </a:prstGeom>
          <a:ln w="76200" cap="rnd">
            <a:gradFill>
              <a:gsLst>
                <a:gs pos="0">
                  <a:srgbClr val="FFA38B"/>
                </a:gs>
                <a:gs pos="97531">
                  <a:srgbClr val="8DC8E8"/>
                </a:gs>
                <a:gs pos="65000">
                  <a:srgbClr val="CD9BCF"/>
                </a:gs>
                <a:gs pos="34000">
                  <a:srgbClr val="FFB3BB"/>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D47B2CB-325C-5073-D8C2-698C29B7BD94}"/>
              </a:ext>
            </a:extLst>
          </p:cNvPr>
          <p:cNvSpPr>
            <a:spLocks noGrp="1"/>
          </p:cNvSpPr>
          <p:nvPr>
            <p:ph type="body" sz="quarter" idx="13" hasCustomPrompt="1"/>
          </p:nvPr>
        </p:nvSpPr>
        <p:spPr>
          <a:xfrm>
            <a:off x="582042" y="4262120"/>
            <a:ext cx="8253913" cy="307777"/>
          </a:xfrm>
          <a:noFill/>
        </p:spPr>
        <p:txBody>
          <a:bodyPr wrap="square" lIns="0" tIns="0" rIns="0" bIns="0">
            <a:spAutoFit/>
          </a:bodyPr>
          <a:lstStyle>
            <a:lvl1pPr marL="0" indent="0">
              <a:spcBef>
                <a:spcPts val="60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437262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C7D666-BCD6-C322-9710-8EA204E6238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 y="0"/>
            <a:ext cx="12191996" cy="685799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25373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5249572"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75723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3A552F5-A279-E01D-8684-06A66C8E3A38}"/>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419602"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4" y="3962400"/>
            <a:ext cx="4419602"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49587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33933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3" y="4260778"/>
            <a:ext cx="4335897"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cxnSp>
        <p:nvCxnSpPr>
          <p:cNvPr id="8" name="Straight Connector 7">
            <a:extLst>
              <a:ext uri="{FF2B5EF4-FFF2-40B4-BE49-F238E27FC236}">
                <a16:creationId xmlns:a16="http://schemas.microsoft.com/office/drawing/2014/main" id="{D9E5E791-B100-3AA7-21F7-E48EDD0B5D63}"/>
              </a:ext>
              <a:ext uri="{C183D7F6-B498-43B3-948B-1728B52AA6E4}">
                <adec:decorative xmlns:adec="http://schemas.microsoft.com/office/drawing/2017/decorative" val="1"/>
              </a:ext>
            </a:extLst>
          </p:cNvPr>
          <p:cNvCxnSpPr>
            <a:cxnSpLocks/>
          </p:cNvCxnSpPr>
          <p:nvPr userDrawn="1"/>
        </p:nvCxnSpPr>
        <p:spPr>
          <a:xfrm>
            <a:off x="585216" y="3915473"/>
            <a:ext cx="3182112" cy="0"/>
          </a:xfrm>
          <a:prstGeom prst="line">
            <a:avLst/>
          </a:prstGeom>
          <a:ln w="76200" cap="rnd">
            <a:gradFill>
              <a:gsLst>
                <a:gs pos="0">
                  <a:srgbClr val="FFA38B"/>
                </a:gs>
                <a:gs pos="97531">
                  <a:srgbClr val="8DC8E8"/>
                </a:gs>
                <a:gs pos="65000">
                  <a:srgbClr val="CD9BCF"/>
                </a:gs>
                <a:gs pos="34000">
                  <a:srgbClr val="FFB3BB"/>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5088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_Microso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a:xfrm>
            <a:off x="588263" y="457200"/>
            <a:ext cx="11018520" cy="553998"/>
          </a:xfrm>
        </p:spPr>
        <p:txBody>
          <a:bodyPr/>
          <a:lstStyle>
            <a:lvl1pPr>
              <a:lnSpc>
                <a:spcPct val="100000"/>
              </a:lnSpc>
              <a:defRPr sz="3600">
                <a:solidFill>
                  <a:schemeClr val="tx1"/>
                </a:solidFill>
              </a:defRPr>
            </a:lvl1pPr>
          </a:lstStyle>
          <a:p>
            <a:r>
              <a:rPr lang="en-US"/>
              <a:t>Click to edit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hasCustomPrompt="1"/>
          </p:nvPr>
        </p:nvSpPr>
        <p:spPr>
          <a:xfrm>
            <a:off x="584200" y="1435100"/>
            <a:ext cx="11018838" cy="1612749"/>
          </a:xfrm>
        </p:spPr>
        <p:txBody>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76277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p:txBody>
          <a:bodyPr/>
          <a:lstStyle>
            <a:lvl1pPr>
              <a:defRPr>
                <a:solidFill>
                  <a:schemeClr val="tx1"/>
                </a:solidFill>
              </a:defRPr>
            </a:lvl1pPr>
          </a:lstStyle>
          <a:p>
            <a:r>
              <a:rPr lang="en-US"/>
              <a:t>Click to edit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hasCustomPrompt="1"/>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33151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avy Background">
    <p:bg>
      <p:bgPr>
        <a:solidFill>
          <a:srgbClr val="151E47"/>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498412154"/>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p:txBody>
          <a:bodyPr/>
          <a:lstStyle>
            <a:lvl1pPr>
              <a:defRPr>
                <a:solidFill>
                  <a:schemeClr val="tx1"/>
                </a:solidFill>
              </a:defRPr>
            </a:lvl1pPr>
          </a:lstStyle>
          <a:p>
            <a:r>
              <a:rPr lang="en-US"/>
              <a:t>Click to edit title style</a:t>
            </a:r>
          </a:p>
        </p:txBody>
      </p:sp>
      <p:sp>
        <p:nvSpPr>
          <p:cNvPr id="7" name="Text Placeholder 3">
            <a:extLst>
              <a:ext uri="{FF2B5EF4-FFF2-40B4-BE49-F238E27FC236}">
                <a16:creationId xmlns:a16="http://schemas.microsoft.com/office/drawing/2014/main" id="{86F2E5AA-B8E1-2D99-BFF6-55964406C169}"/>
              </a:ext>
            </a:extLst>
          </p:cNvPr>
          <p:cNvSpPr>
            <a:spLocks noGrp="1"/>
          </p:cNvSpPr>
          <p:nvPr>
            <p:ph type="body" sz="quarter" idx="10" hasCustomPrompt="1"/>
          </p:nvPr>
        </p:nvSpPr>
        <p:spPr>
          <a:xfrm>
            <a:off x="584200" y="1961079"/>
            <a:ext cx="11018521"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a:t>Large: subhead Segoe UI Regular 20/24</a:t>
            </a:r>
          </a:p>
        </p:txBody>
      </p:sp>
      <p:sp>
        <p:nvSpPr>
          <p:cNvPr id="8" name="Text Placeholder 4">
            <a:extLst>
              <a:ext uri="{FF2B5EF4-FFF2-40B4-BE49-F238E27FC236}">
                <a16:creationId xmlns:a16="http://schemas.microsoft.com/office/drawing/2014/main" id="{24F7BF36-6F86-1AAC-B730-8494CAF9A2B5}"/>
              </a:ext>
            </a:extLst>
          </p:cNvPr>
          <p:cNvSpPr>
            <a:spLocks noGrp="1"/>
          </p:cNvSpPr>
          <p:nvPr>
            <p:ph type="body" sz="quarter" idx="11" hasCustomPrompt="1"/>
          </p:nvPr>
        </p:nvSpPr>
        <p:spPr>
          <a:xfrm>
            <a:off x="584200" y="3075739"/>
            <a:ext cx="11018521" cy="220510"/>
          </a:xfrm>
          <a:prstGeom prst="rect">
            <a:avLst/>
          </a:prstGeom>
        </p:spPr>
        <p:txBody>
          <a:bodyPr lIns="0" tIns="0" rIns="0" bIns="0"/>
          <a:lstStyle>
            <a:lvl1pPr marL="0" indent="0">
              <a:lnSpc>
                <a:spcPts val="1800"/>
              </a:lnSpc>
              <a:spcBef>
                <a:spcPts val="0"/>
              </a:spcBef>
              <a:buNone/>
              <a:defRPr sz="1400" b="0" spc="0">
                <a:solidFill>
                  <a:schemeClr val="accent1"/>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a:t>Medium: paragraph heading Segoe UI </a:t>
            </a:r>
            <a:r>
              <a:rPr lang="en-US" err="1"/>
              <a:t>Semibold</a:t>
            </a:r>
            <a:r>
              <a:rPr lang="en-US"/>
              <a:t> 14/18</a:t>
            </a:r>
          </a:p>
        </p:txBody>
      </p:sp>
      <p:sp>
        <p:nvSpPr>
          <p:cNvPr id="9" name="Text Placeholder 6">
            <a:extLst>
              <a:ext uri="{FF2B5EF4-FFF2-40B4-BE49-F238E27FC236}">
                <a16:creationId xmlns:a16="http://schemas.microsoft.com/office/drawing/2014/main" id="{345546AD-A5A5-3F3C-BA37-4B19AEF2A5DB}"/>
              </a:ext>
            </a:extLst>
          </p:cNvPr>
          <p:cNvSpPr>
            <a:spLocks noGrp="1"/>
          </p:cNvSpPr>
          <p:nvPr>
            <p:ph type="body" sz="quarter" idx="14" hasCustomPrompt="1"/>
          </p:nvPr>
        </p:nvSpPr>
        <p:spPr>
          <a:xfrm>
            <a:off x="584200" y="4593491"/>
            <a:ext cx="11018521"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0" name="Text Placeholder 3">
            <a:extLst>
              <a:ext uri="{FF2B5EF4-FFF2-40B4-BE49-F238E27FC236}">
                <a16:creationId xmlns:a16="http://schemas.microsoft.com/office/drawing/2014/main" id="{90ACF05F-2419-331C-73AA-1456DD524AFE}"/>
              </a:ext>
            </a:extLst>
          </p:cNvPr>
          <p:cNvSpPr>
            <a:spLocks noGrp="1"/>
          </p:cNvSpPr>
          <p:nvPr>
            <p:ph type="body" sz="quarter" idx="24" hasCustomPrompt="1"/>
          </p:nvPr>
        </p:nvSpPr>
        <p:spPr>
          <a:xfrm>
            <a:off x="582338" y="4385524"/>
            <a:ext cx="11018521" cy="153888"/>
          </a:xfrm>
          <a:prstGeom prst="rect">
            <a:avLst/>
          </a:prstGeom>
        </p:spPr>
        <p:txBody>
          <a:bodyPr tIns="0"/>
          <a:lstStyle>
            <a:lvl1pPr marL="0" indent="0">
              <a:buNone/>
              <a:defRPr lang="en-US" sz="1000" b="1" kern="1200" spc="0" dirty="0" smtClean="0">
                <a:solidFill>
                  <a:srgbClr val="000000"/>
                </a:solidFill>
                <a:latin typeface="+mn-lt"/>
                <a:ea typeface="+mn-ea"/>
                <a:cs typeface="+mn-cs"/>
              </a:defRPr>
            </a:lvl1pPr>
          </a:lstStyle>
          <a:p>
            <a:pPr lvl="0"/>
            <a:r>
              <a:rPr lang="en-US"/>
              <a:t>Small: caption title Segoe UI Bold 10/12. </a:t>
            </a:r>
          </a:p>
        </p:txBody>
      </p:sp>
      <p:sp>
        <p:nvSpPr>
          <p:cNvPr id="11" name="Text Placeholder 4">
            <a:extLst>
              <a:ext uri="{FF2B5EF4-FFF2-40B4-BE49-F238E27FC236}">
                <a16:creationId xmlns:a16="http://schemas.microsoft.com/office/drawing/2014/main" id="{F10E3B9C-87B7-FCD5-21F0-3C1505450B59}"/>
              </a:ext>
            </a:extLst>
          </p:cNvPr>
          <p:cNvSpPr>
            <a:spLocks noGrp="1"/>
          </p:cNvSpPr>
          <p:nvPr>
            <p:ph type="body" sz="quarter" idx="18" hasCustomPrompt="1"/>
          </p:nvPr>
        </p:nvSpPr>
        <p:spPr>
          <a:xfrm>
            <a:off x="582338" y="3385527"/>
            <a:ext cx="11018521"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Medium: body copy Segoe UI Regular 14/18</a:t>
            </a:r>
          </a:p>
        </p:txBody>
      </p:sp>
    </p:spTree>
    <p:extLst>
      <p:ext uri="{BB962C8B-B14F-4D97-AF65-F5344CB8AC3E}">
        <p14:creationId xmlns:p14="http://schemas.microsoft.com/office/powerpoint/2010/main" val="42948682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89" y="2030760"/>
            <a:ext cx="9570435" cy="307777"/>
          </a:xfrm>
        </p:spPr>
        <p:txBody>
          <a:bodyPr wrap="square">
            <a:spAutoFit/>
          </a:bodyPr>
          <a:lstStyle>
            <a:lvl1pPr marL="0" indent="0">
              <a:buNone/>
              <a:defRPr lang="en-US" sz="2000" kern="1200" spc="0" baseline="0" dirty="0" smtClean="0">
                <a:solidFill>
                  <a:schemeClr val="tx1"/>
                </a:solidFill>
                <a:latin typeface="+mn-lt"/>
                <a:ea typeface="+mn-ea"/>
                <a:cs typeface="Segoe UI" panose="020B0502040204020203" pitchFamily="34" charset="0"/>
              </a:defRPr>
            </a:lvl1pPr>
            <a:lvl2pPr marL="228600" indent="0">
              <a:buNone/>
              <a:defRPr/>
            </a:lvl2pPr>
            <a:lvl3pPr marL="457200" indent="0">
              <a:buNone/>
              <a:defRPr/>
            </a:lvl3pPr>
            <a:lvl4pPr marL="685800" indent="0">
              <a:buNone/>
              <a:defRPr/>
            </a:lvl4pPr>
            <a:lvl5pPr marL="914400" indent="0">
              <a:buNone/>
              <a:defRPr/>
            </a:lvl5pPr>
          </a:lstStyle>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a:t>Click to edit Master text styles</a:t>
            </a:r>
          </a:p>
        </p:txBody>
      </p:sp>
      <p:sp>
        <p:nvSpPr>
          <p:cNvPr id="2" name="Title 1">
            <a:extLst>
              <a:ext uri="{FF2B5EF4-FFF2-40B4-BE49-F238E27FC236}">
                <a16:creationId xmlns:a16="http://schemas.microsoft.com/office/drawing/2014/main" id="{8CCD5746-9BA1-20FD-9CB7-A3691927C0E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58900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hasCustomPrompt="1"/>
          </p:nvPr>
        </p:nvSpPr>
        <p:spPr/>
        <p:txBody>
          <a:bodyPr/>
          <a:lstStyle/>
          <a:p>
            <a:r>
              <a:rPr lang="en-US"/>
              <a:t>Click to edit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hasCustomPrompt="1"/>
          </p:nvPr>
        </p:nvSpPr>
        <p:spPr>
          <a:xfrm>
            <a:off x="584200" y="1435100"/>
            <a:ext cx="5211763" cy="161274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hasCustomPrompt="1"/>
          </p:nvPr>
        </p:nvSpPr>
        <p:spPr>
          <a:xfrm>
            <a:off x="6389688" y="1435100"/>
            <a:ext cx="5219700" cy="161274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51641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11018520" cy="553998"/>
          </a:xfrm>
        </p:spPr>
        <p:txBody>
          <a:bodyPr/>
          <a:lstStyle/>
          <a:p>
            <a:r>
              <a:rPr lang="en-US"/>
              <a:t>Click to edit title style</a:t>
            </a:r>
          </a:p>
        </p:txBody>
      </p:sp>
      <p:sp>
        <p:nvSpPr>
          <p:cNvPr id="4" name="Text Placeholder 3"/>
          <p:cNvSpPr>
            <a:spLocks noGrp="1"/>
          </p:cNvSpPr>
          <p:nvPr>
            <p:ph type="body" sz="quarter" idx="10" hasCustomPrompt="1"/>
          </p:nvPr>
        </p:nvSpPr>
        <p:spPr>
          <a:xfrm>
            <a:off x="584200" y="1435100"/>
            <a:ext cx="5212080" cy="1403461"/>
          </a:xfrm>
        </p:spPr>
        <p:txBody>
          <a:bodyPr wrap="square">
            <a:spAutoFit/>
          </a:bodyPr>
          <a:lstStyle>
            <a:lvl1pPr marL="0" indent="0">
              <a:spcBef>
                <a:spcPts val="1224"/>
              </a:spcBef>
              <a:buClr>
                <a:schemeClr val="tx1"/>
              </a:buClr>
              <a:buFont typeface="Wingdings" panose="05000000000000000000" pitchFamily="2" charset="2"/>
              <a:buNone/>
              <a:defRPr sz="24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1800" b="0"/>
            </a:lvl2pPr>
            <a:lvl3pPr marL="450850" indent="0">
              <a:buFont typeface="Wingdings" panose="05000000000000000000" pitchFamily="2" charset="2"/>
              <a:buNone/>
              <a:tabLst/>
              <a:defRPr sz="1400" b="0"/>
            </a:lvl3pPr>
            <a:lvl4pPr marL="652462" indent="0">
              <a:buFont typeface="Wingdings" panose="05000000000000000000" pitchFamily="2" charset="2"/>
              <a:buNone/>
              <a:defRPr sz="1200" b="0"/>
            </a:lvl4pPr>
            <a:lvl5pPr marL="854075" indent="0">
              <a:buFont typeface="Wingdings" panose="05000000000000000000" pitchFamily="2" charset="2"/>
              <a:buNone/>
              <a:tabLst/>
              <a:defRPr sz="1200" b="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hasCustomPrompt="1"/>
          </p:nvPr>
        </p:nvSpPr>
        <p:spPr>
          <a:xfrm>
            <a:off x="6397171" y="1435100"/>
            <a:ext cx="5212080" cy="1403461"/>
          </a:xfrm>
        </p:spPr>
        <p:txBody>
          <a:bodyPr wrap="square">
            <a:spAutoFit/>
          </a:bodyPr>
          <a:lstStyle>
            <a:lvl1pPr marL="0" indent="0">
              <a:spcBef>
                <a:spcPts val="1224"/>
              </a:spcBef>
              <a:buClr>
                <a:schemeClr val="tx1"/>
              </a:buClr>
              <a:buFont typeface="Wingdings" panose="05000000000000000000" pitchFamily="2" charset="2"/>
              <a:buNone/>
              <a:defRPr sz="24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1800" b="0"/>
            </a:lvl2pPr>
            <a:lvl3pPr marL="450850" indent="0">
              <a:buFont typeface="Wingdings" panose="05000000000000000000" pitchFamily="2" charset="2"/>
              <a:buNone/>
              <a:tabLst/>
              <a:defRPr sz="1400" b="0"/>
            </a:lvl3pPr>
            <a:lvl4pPr marL="652462" indent="0">
              <a:buFont typeface="Wingdings" panose="05000000000000000000" pitchFamily="2" charset="2"/>
              <a:buNone/>
              <a:defRPr sz="1200" b="0"/>
            </a:lvl4pPr>
            <a:lvl5pPr marL="854075" indent="0">
              <a:buFont typeface="Wingdings" panose="05000000000000000000" pitchFamily="2" charset="2"/>
              <a:buNone/>
              <a:tabLst/>
              <a:defRPr sz="1200" b="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08843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ver slide layout 1">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E7E78E7-F772-D833-0600-FF9C8FD586A7}"/>
              </a:ext>
            </a:extLst>
          </p:cNvPr>
          <p:cNvSpPr/>
          <p:nvPr userDrawn="1"/>
        </p:nvSpPr>
        <p:spPr>
          <a:xfrm flipH="1">
            <a:off x="1" y="4240949"/>
            <a:ext cx="12191999" cy="1905079"/>
          </a:xfrm>
          <a:custGeom>
            <a:avLst/>
            <a:gdLst>
              <a:gd name="connsiteX0" fmla="*/ 2382963 w 12191999"/>
              <a:gd name="connsiteY0" fmla="*/ 1491 h 1905079"/>
              <a:gd name="connsiteX1" fmla="*/ 2095353 w 12191999"/>
              <a:gd name="connsiteY1" fmla="*/ 17476 h 1905079"/>
              <a:gd name="connsiteX2" fmla="*/ 73340 w 12191999"/>
              <a:gd name="connsiteY2" fmla="*/ 927535 h 1905079"/>
              <a:gd name="connsiteX3" fmla="*/ 0 w 12191999"/>
              <a:gd name="connsiteY3" fmla="*/ 1010003 h 1905079"/>
              <a:gd name="connsiteX4" fmla="*/ 0 w 12191999"/>
              <a:gd name="connsiteY4" fmla="*/ 1044340 h 1905079"/>
              <a:gd name="connsiteX5" fmla="*/ 123963 w 12191999"/>
              <a:gd name="connsiteY5" fmla="*/ 914747 h 1905079"/>
              <a:gd name="connsiteX6" fmla="*/ 4806970 w 12191999"/>
              <a:gd name="connsiteY6" fmla="*/ 418217 h 1905079"/>
              <a:gd name="connsiteX7" fmla="*/ 6699393 w 12191999"/>
              <a:gd name="connsiteY7" fmla="*/ 1052373 h 1905079"/>
              <a:gd name="connsiteX8" fmla="*/ 9912840 w 12191999"/>
              <a:gd name="connsiteY8" fmla="*/ 1899660 h 1905079"/>
              <a:gd name="connsiteX9" fmla="*/ 12185999 w 12191999"/>
              <a:gd name="connsiteY9" fmla="*/ 1169071 h 1905079"/>
              <a:gd name="connsiteX10" fmla="*/ 12191999 w 12191999"/>
              <a:gd name="connsiteY10" fmla="*/ 1163781 h 1905079"/>
              <a:gd name="connsiteX11" fmla="*/ 12191999 w 12191999"/>
              <a:gd name="connsiteY11" fmla="*/ 1128347 h 1905079"/>
              <a:gd name="connsiteX12" fmla="*/ 12169570 w 12191999"/>
              <a:gd name="connsiteY12" fmla="*/ 1148120 h 1905079"/>
              <a:gd name="connsiteX13" fmla="*/ 9914221 w 12191999"/>
              <a:gd name="connsiteY13" fmla="*/ 1873138 h 1905079"/>
              <a:gd name="connsiteX14" fmla="*/ 6708393 w 12191999"/>
              <a:gd name="connsiteY14" fmla="*/ 1027374 h 1905079"/>
              <a:gd name="connsiteX15" fmla="*/ 4814447 w 12191999"/>
              <a:gd name="connsiteY15" fmla="*/ 392741 h 1905079"/>
              <a:gd name="connsiteX16" fmla="*/ 2382963 w 12191999"/>
              <a:gd name="connsiteY16" fmla="*/ 1491 h 190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1999" h="1905079">
                <a:moveTo>
                  <a:pt x="2382963" y="1491"/>
                </a:moveTo>
                <a:cubicBezTo>
                  <a:pt x="2285183" y="3905"/>
                  <a:pt x="2189396" y="9245"/>
                  <a:pt x="2095353" y="17476"/>
                </a:cubicBezTo>
                <a:cubicBezTo>
                  <a:pt x="1267148" y="89972"/>
                  <a:pt x="602521" y="388497"/>
                  <a:pt x="73340" y="927535"/>
                </a:cubicBezTo>
                <a:lnTo>
                  <a:pt x="0" y="1010003"/>
                </a:lnTo>
                <a:lnTo>
                  <a:pt x="0" y="1044340"/>
                </a:lnTo>
                <a:lnTo>
                  <a:pt x="123963" y="914747"/>
                </a:lnTo>
                <a:cubicBezTo>
                  <a:pt x="1408073" y="-352942"/>
                  <a:pt x="3285176" y="-25912"/>
                  <a:pt x="4806970" y="418217"/>
                </a:cubicBezTo>
                <a:cubicBezTo>
                  <a:pt x="5462936" y="609777"/>
                  <a:pt x="6091521" y="834813"/>
                  <a:pt x="6699393" y="1052373"/>
                </a:cubicBezTo>
                <a:cubicBezTo>
                  <a:pt x="7845522" y="1462588"/>
                  <a:pt x="8928083" y="1850091"/>
                  <a:pt x="9912840" y="1899660"/>
                </a:cubicBezTo>
                <a:cubicBezTo>
                  <a:pt x="10803021" y="1944617"/>
                  <a:pt x="11538231" y="1710656"/>
                  <a:pt x="12185999" y="1169071"/>
                </a:cubicBezTo>
                <a:lnTo>
                  <a:pt x="12191999" y="1163781"/>
                </a:lnTo>
                <a:lnTo>
                  <a:pt x="12191999" y="1128347"/>
                </a:lnTo>
                <a:lnTo>
                  <a:pt x="12169570" y="1148120"/>
                </a:lnTo>
                <a:cubicBezTo>
                  <a:pt x="11526761" y="1685515"/>
                  <a:pt x="10797207" y="1917669"/>
                  <a:pt x="9914221" y="1873138"/>
                </a:cubicBezTo>
                <a:cubicBezTo>
                  <a:pt x="8933369" y="1823808"/>
                  <a:pt x="7852617" y="1436924"/>
                  <a:pt x="6708393" y="1027374"/>
                </a:cubicBezTo>
                <a:cubicBezTo>
                  <a:pt x="6100139" y="809672"/>
                  <a:pt x="5471220" y="584541"/>
                  <a:pt x="4814447" y="392741"/>
                </a:cubicBezTo>
                <a:cubicBezTo>
                  <a:pt x="3849540" y="111090"/>
                  <a:pt x="3067425" y="-15403"/>
                  <a:pt x="2382963" y="1491"/>
                </a:cubicBezTo>
                <a:close/>
              </a:path>
            </a:pathLst>
          </a:custGeom>
          <a:solidFill>
            <a:schemeClr val="accent1">
              <a:alpha val="73000"/>
            </a:schemeClr>
          </a:solidFill>
          <a:ln w="286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7644F243-157D-25AF-B5C8-0E493B4B34A5}"/>
              </a:ext>
            </a:extLst>
          </p:cNvPr>
          <p:cNvSpPr/>
          <p:nvPr userDrawn="1"/>
        </p:nvSpPr>
        <p:spPr>
          <a:xfrm flipH="1">
            <a:off x="0" y="5320341"/>
            <a:ext cx="12191999" cy="1415857"/>
          </a:xfrm>
          <a:custGeom>
            <a:avLst/>
            <a:gdLst>
              <a:gd name="connsiteX0" fmla="*/ 12191999 w 12191999"/>
              <a:gd name="connsiteY0" fmla="*/ 0 h 1415857"/>
              <a:gd name="connsiteX1" fmla="*/ 12111454 w 12191999"/>
              <a:gd name="connsiteY1" fmla="*/ 83295 h 1415857"/>
              <a:gd name="connsiteX2" fmla="*/ 5249519 w 12191999"/>
              <a:gd name="connsiteY2" fmla="*/ 665231 h 1415857"/>
              <a:gd name="connsiteX3" fmla="*/ 103048 w 12191999"/>
              <a:gd name="connsiteY3" fmla="*/ 639906 h 1415857"/>
              <a:gd name="connsiteX4" fmla="*/ 0 w 12191999"/>
              <a:gd name="connsiteY4" fmla="*/ 726333 h 1415857"/>
              <a:gd name="connsiteX5" fmla="*/ 0 w 12191999"/>
              <a:gd name="connsiteY5" fmla="*/ 761001 h 1415857"/>
              <a:gd name="connsiteX6" fmla="*/ 119759 w 12191999"/>
              <a:gd name="connsiteY6" fmla="*/ 660668 h 1415857"/>
              <a:gd name="connsiteX7" fmla="*/ 5241946 w 12191999"/>
              <a:gd name="connsiteY7" fmla="*/ 690610 h 1415857"/>
              <a:gd name="connsiteX8" fmla="*/ 8882039 w 12191999"/>
              <a:gd name="connsiteY8" fmla="*/ 1415809 h 1415857"/>
              <a:gd name="connsiteX9" fmla="*/ 8882085 w 12191999"/>
              <a:gd name="connsiteY9" fmla="*/ 1415857 h 1415857"/>
              <a:gd name="connsiteX10" fmla="*/ 9017507 w 12191999"/>
              <a:gd name="connsiteY10" fmla="*/ 1414285 h 1415857"/>
              <a:gd name="connsiteX11" fmla="*/ 12168284 w 12191999"/>
              <a:gd name="connsiteY11" fmla="*/ 63551 h 1415857"/>
              <a:gd name="connsiteX12" fmla="*/ 12191999 w 12191999"/>
              <a:gd name="connsiteY12" fmla="*/ 38742 h 1415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1999" h="1415857">
                <a:moveTo>
                  <a:pt x="12191999" y="0"/>
                </a:moveTo>
                <a:lnTo>
                  <a:pt x="12111454" y="83295"/>
                </a:lnTo>
                <a:cubicBezTo>
                  <a:pt x="10061595" y="2097004"/>
                  <a:pt x="7617828" y="1369880"/>
                  <a:pt x="5249519" y="665231"/>
                </a:cubicBezTo>
                <a:cubicBezTo>
                  <a:pt x="3321295" y="91518"/>
                  <a:pt x="1490055" y="-453293"/>
                  <a:pt x="103048" y="639906"/>
                </a:cubicBezTo>
                <a:lnTo>
                  <a:pt x="0" y="726333"/>
                </a:lnTo>
                <a:lnTo>
                  <a:pt x="0" y="761001"/>
                </a:lnTo>
                <a:lnTo>
                  <a:pt x="119759" y="660668"/>
                </a:lnTo>
                <a:cubicBezTo>
                  <a:pt x="1497203" y="-423582"/>
                  <a:pt x="3321318" y="119141"/>
                  <a:pt x="5241946" y="690610"/>
                </a:cubicBezTo>
                <a:cubicBezTo>
                  <a:pt x="6441026" y="1047401"/>
                  <a:pt x="7679293" y="1415809"/>
                  <a:pt x="8882039" y="1415809"/>
                </a:cubicBezTo>
                <a:lnTo>
                  <a:pt x="8882085" y="1415857"/>
                </a:lnTo>
                <a:cubicBezTo>
                  <a:pt x="8927227" y="1415857"/>
                  <a:pt x="8972462" y="1415333"/>
                  <a:pt x="9017507" y="1414285"/>
                </a:cubicBezTo>
                <a:cubicBezTo>
                  <a:pt x="10251941" y="1385245"/>
                  <a:pt x="11287506" y="942316"/>
                  <a:pt x="12168284" y="63551"/>
                </a:cubicBezTo>
                <a:lnTo>
                  <a:pt x="12191999" y="38742"/>
                </a:lnTo>
                <a:close/>
              </a:path>
            </a:pathLst>
          </a:custGeom>
          <a:solidFill>
            <a:schemeClr val="bg1">
              <a:alpha val="73000"/>
            </a:schemeClr>
          </a:solidFill>
          <a:ln w="2869" cap="flat">
            <a:noFill/>
            <a:prstDash val="solid"/>
            <a:miter/>
          </a:ln>
        </p:spPr>
        <p:txBody>
          <a:bodyPr rtlCol="0" anchor="ctr"/>
          <a:lstStyle/>
          <a:p>
            <a:endParaRPr lang="en-GB"/>
          </a:p>
        </p:txBody>
      </p:sp>
      <p:sp>
        <p:nvSpPr>
          <p:cNvPr id="21" name="Text Placeholder 2">
            <a:extLst>
              <a:ext uri="{FF2B5EF4-FFF2-40B4-BE49-F238E27FC236}">
                <a16:creationId xmlns:a16="http://schemas.microsoft.com/office/drawing/2014/main" id="{7705D9E2-23B9-4643-FA7C-743410DCF1EE}"/>
              </a:ext>
            </a:extLst>
          </p:cNvPr>
          <p:cNvSpPr>
            <a:spLocks noGrp="1"/>
          </p:cNvSpPr>
          <p:nvPr userDrawn="1">
            <p:ph type="body" sz="quarter" idx="11" hasCustomPrompt="1"/>
          </p:nvPr>
        </p:nvSpPr>
        <p:spPr>
          <a:xfrm>
            <a:off x="563499" y="3229191"/>
            <a:ext cx="3983038" cy="369332"/>
          </a:xfrm>
        </p:spPr>
        <p:txBody>
          <a:bodyPr/>
          <a:lstStyle>
            <a:lvl1pPr marL="0" indent="0">
              <a:buNone/>
              <a:defRPr sz="2400" b="0" i="0">
                <a:solidFill>
                  <a:schemeClr val="tx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2" name="Text Placeholder 20">
            <a:extLst>
              <a:ext uri="{FF2B5EF4-FFF2-40B4-BE49-F238E27FC236}">
                <a16:creationId xmlns:a16="http://schemas.microsoft.com/office/drawing/2014/main" id="{4901A287-DF75-FF8A-B37D-58B72C824E20}"/>
              </a:ext>
            </a:extLst>
          </p:cNvPr>
          <p:cNvSpPr>
            <a:spLocks noGrp="1"/>
          </p:cNvSpPr>
          <p:nvPr userDrawn="1">
            <p:ph type="body" sz="quarter" idx="13" hasCustomPrompt="1"/>
          </p:nvPr>
        </p:nvSpPr>
        <p:spPr>
          <a:xfrm>
            <a:off x="563563" y="2487979"/>
            <a:ext cx="10933112" cy="553998"/>
          </a:xfrm>
        </p:spPr>
        <p:txBody>
          <a:bodyPr/>
          <a:lstStyle>
            <a:lvl1pPr marL="0" indent="0">
              <a:buNone/>
              <a:defRPr sz="3600" b="1" i="0">
                <a:solidFill>
                  <a:schemeClr val="accent3"/>
                </a:solidFill>
                <a:latin typeface="+mj-lt"/>
                <a:cs typeface="Segoe Sans Text" pitchFamily="2" charset="0"/>
              </a:defRPr>
            </a:lvl1pPr>
          </a:lstStyle>
          <a:p>
            <a:pPr lvl="0"/>
            <a:r>
              <a:rPr lang="en-US"/>
              <a:t>Event name or presentation title</a:t>
            </a:r>
          </a:p>
        </p:txBody>
      </p:sp>
      <p:pic>
        <p:nvPicPr>
          <p:cNvPr id="15" name="MS logo gray - EMF" descr="Microsoft logo, gray text version">
            <a:extLst>
              <a:ext uri="{FF2B5EF4-FFF2-40B4-BE49-F238E27FC236}">
                <a16:creationId xmlns:a16="http://schemas.microsoft.com/office/drawing/2014/main" id="{E0A781CA-3DD9-6831-E2DF-BA583DE385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20" name="Picture 19" descr="A purple text on a black background&#10;&#10;Description automatically generated">
            <a:extLst>
              <a:ext uri="{FF2B5EF4-FFF2-40B4-BE49-F238E27FC236}">
                <a16:creationId xmlns:a16="http://schemas.microsoft.com/office/drawing/2014/main" id="{4B758F10-1FEB-5DBD-1067-403A2B172B6F}"/>
              </a:ext>
            </a:extLst>
          </p:cNvPr>
          <p:cNvPicPr>
            <a:picLocks noChangeAspect="1"/>
          </p:cNvPicPr>
          <p:nvPr userDrawn="1"/>
        </p:nvPicPr>
        <p:blipFill>
          <a:blip r:embed="rId3"/>
          <a:stretch>
            <a:fillRect/>
          </a:stretch>
        </p:blipFill>
        <p:spPr>
          <a:xfrm>
            <a:off x="2540750" y="501051"/>
            <a:ext cx="1194963" cy="461326"/>
          </a:xfrm>
          <a:prstGeom prst="rect">
            <a:avLst/>
          </a:prstGeom>
        </p:spPr>
      </p:pic>
      <p:cxnSp>
        <p:nvCxnSpPr>
          <p:cNvPr id="4" name="Straight Connector 3">
            <a:extLst>
              <a:ext uri="{FF2B5EF4-FFF2-40B4-BE49-F238E27FC236}">
                <a16:creationId xmlns:a16="http://schemas.microsoft.com/office/drawing/2014/main" id="{BA750F94-0E09-24DC-6666-F4FC51AE0830}"/>
              </a:ext>
            </a:extLst>
          </p:cNvPr>
          <p:cNvCxnSpPr>
            <a:cxnSpLocks/>
          </p:cNvCxnSpPr>
          <p:nvPr userDrawn="1"/>
        </p:nvCxnSpPr>
        <p:spPr>
          <a:xfrm>
            <a:off x="2251947" y="436510"/>
            <a:ext cx="0" cy="582241"/>
          </a:xfrm>
          <a:prstGeom prst="line">
            <a:avLst/>
          </a:prstGeom>
          <a:ln>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17008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ver slide layout 2">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372F3E58-8238-F351-C44F-4143411F4531}"/>
              </a:ext>
            </a:extLst>
          </p:cNvPr>
          <p:cNvPicPr>
            <a:picLocks noChangeAspect="1"/>
          </p:cNvPicPr>
          <p:nvPr userDrawn="1"/>
        </p:nvPicPr>
        <p:blipFill>
          <a:blip>
            <a:alphaModFix amt="40000"/>
            <a:extLst>
              <a:ext uri="{96DAC541-7B7A-43D3-8B79-37D633B846F1}">
                <asvg:svgBlip xmlns:asvg="http://schemas.microsoft.com/office/drawing/2016/SVG/main" r:embed="rId2"/>
              </a:ext>
            </a:extLst>
          </a:blip>
          <a:srcRect r="3226" b="30326"/>
          <a:stretch/>
        </p:blipFill>
        <p:spPr>
          <a:xfrm flipH="1">
            <a:off x="0" y="1727807"/>
            <a:ext cx="12192000" cy="5130193"/>
          </a:xfrm>
          <a:prstGeom prst="rect">
            <a:avLst/>
          </a:prstGeom>
        </p:spPr>
      </p:pic>
      <p:sp>
        <p:nvSpPr>
          <p:cNvPr id="6" name="Footer Placeholder 1">
            <a:extLst>
              <a:ext uri="{FF2B5EF4-FFF2-40B4-BE49-F238E27FC236}">
                <a16:creationId xmlns:a16="http://schemas.microsoft.com/office/drawing/2014/main" id="{C2A8E8DB-E6F8-5E67-7548-75F72B1109A0}"/>
              </a:ext>
            </a:extLst>
          </p:cNvPr>
          <p:cNvSpPr>
            <a:spLocks noGrp="1"/>
          </p:cNvSpPr>
          <p:nvPr>
            <p:ph type="ftr" sz="quarter" idx="12"/>
          </p:nvPr>
        </p:nvSpPr>
        <p:spPr>
          <a:xfrm>
            <a:off x="584200" y="6477356"/>
            <a:ext cx="4114800" cy="123111"/>
          </a:xfrm>
          <a:prstGeom prst="rect">
            <a:avLst/>
          </a:prstGeom>
        </p:spPr>
        <p:txBody>
          <a:bodyPr anchor="ctr"/>
          <a:lstStyle>
            <a:lvl1pPr>
              <a:defRPr sz="800">
                <a:solidFill>
                  <a:schemeClr val="bg1"/>
                </a:solidFill>
              </a:defRPr>
            </a:lvl1pPr>
          </a:lstStyle>
          <a:p>
            <a:r>
              <a:rPr lang="en-US"/>
              <a:t>© 2025 Microsoft. All rights reserved. Internal Microsoft use only.</a:t>
            </a:r>
          </a:p>
        </p:txBody>
      </p:sp>
      <p:sp>
        <p:nvSpPr>
          <p:cNvPr id="8" name="Text Placeholder 2">
            <a:extLst>
              <a:ext uri="{FF2B5EF4-FFF2-40B4-BE49-F238E27FC236}">
                <a16:creationId xmlns:a16="http://schemas.microsoft.com/office/drawing/2014/main" id="{B5B72583-9DB5-0904-753E-0DDD84E70C9C}"/>
              </a:ext>
            </a:extLst>
          </p:cNvPr>
          <p:cNvSpPr>
            <a:spLocks noGrp="1"/>
          </p:cNvSpPr>
          <p:nvPr>
            <p:ph type="body" sz="quarter" idx="11" hasCustomPrompt="1"/>
          </p:nvPr>
        </p:nvSpPr>
        <p:spPr>
          <a:xfrm>
            <a:off x="563499" y="3610191"/>
            <a:ext cx="9156764"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pic>
        <p:nvPicPr>
          <p:cNvPr id="12" name="MS logo white - EMF" descr="Microsoft logo white text version">
            <a:extLst>
              <a:ext uri="{FF2B5EF4-FFF2-40B4-BE49-F238E27FC236}">
                <a16:creationId xmlns:a16="http://schemas.microsoft.com/office/drawing/2014/main" id="{5F4C99C3-F5E9-63F0-72D4-944E537155C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16" name="Picture 15" descr="A close-up of a logo&#10;&#10;Description automatically generated">
            <a:extLst>
              <a:ext uri="{FF2B5EF4-FFF2-40B4-BE49-F238E27FC236}">
                <a16:creationId xmlns:a16="http://schemas.microsoft.com/office/drawing/2014/main" id="{52411A0A-3B67-71E2-C3A9-5AB71FD8E546}"/>
              </a:ext>
            </a:extLst>
          </p:cNvPr>
          <p:cNvPicPr>
            <a:picLocks noChangeAspect="1"/>
          </p:cNvPicPr>
          <p:nvPr userDrawn="1"/>
        </p:nvPicPr>
        <p:blipFill>
          <a:blip r:embed="rId4"/>
          <a:stretch>
            <a:fillRect/>
          </a:stretch>
        </p:blipFill>
        <p:spPr>
          <a:xfrm>
            <a:off x="2540750" y="501051"/>
            <a:ext cx="1194963" cy="461326"/>
          </a:xfrm>
          <a:prstGeom prst="rect">
            <a:avLst/>
          </a:prstGeom>
        </p:spPr>
      </p:pic>
      <p:cxnSp>
        <p:nvCxnSpPr>
          <p:cNvPr id="17" name="Straight Connector 16">
            <a:extLst>
              <a:ext uri="{FF2B5EF4-FFF2-40B4-BE49-F238E27FC236}">
                <a16:creationId xmlns:a16="http://schemas.microsoft.com/office/drawing/2014/main" id="{5E459B8E-4B53-08A4-6AF0-68EEACA2D5D7}"/>
              </a:ext>
            </a:extLst>
          </p:cNvPr>
          <p:cNvCxnSpPr>
            <a:cxnSpLocks/>
          </p:cNvCxnSpPr>
          <p:nvPr userDrawn="1"/>
        </p:nvCxnSpPr>
        <p:spPr>
          <a:xfrm>
            <a:off x="2251947" y="436510"/>
            <a:ext cx="0" cy="58224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20">
            <a:extLst>
              <a:ext uri="{FF2B5EF4-FFF2-40B4-BE49-F238E27FC236}">
                <a16:creationId xmlns:a16="http://schemas.microsoft.com/office/drawing/2014/main" id="{C26A100C-1C2E-2171-FA76-46181BAB2E85}"/>
              </a:ext>
            </a:extLst>
          </p:cNvPr>
          <p:cNvSpPr>
            <a:spLocks noGrp="1"/>
          </p:cNvSpPr>
          <p:nvPr userDrawn="1">
            <p:ph type="body" sz="quarter" idx="13" hasCustomPrompt="1"/>
          </p:nvPr>
        </p:nvSpPr>
        <p:spPr>
          <a:xfrm>
            <a:off x="563563" y="2868979"/>
            <a:ext cx="10933112" cy="553998"/>
          </a:xfrm>
        </p:spPr>
        <p:txBody>
          <a:bodyPr/>
          <a:lstStyle>
            <a:lvl1pPr marL="0" indent="0">
              <a:buNone/>
              <a:defRPr sz="3600" b="1" i="0">
                <a:solidFill>
                  <a:schemeClr val="bg1"/>
                </a:solidFill>
                <a:latin typeface="+mj-lt"/>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41831425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Cover slide layout 3">
    <p:spTree>
      <p:nvGrpSpPr>
        <p:cNvPr id="1" name=""/>
        <p:cNvGrpSpPr/>
        <p:nvPr/>
      </p:nvGrpSpPr>
      <p:grpSpPr>
        <a:xfrm>
          <a:off x="0" y="0"/>
          <a:ext cx="0" cy="0"/>
          <a:chOff x="0" y="0"/>
          <a:chExt cx="0" cy="0"/>
        </a:xfrm>
      </p:grpSpPr>
      <p:sp>
        <p:nvSpPr>
          <p:cNvPr id="17" name="Footer Placeholder 1">
            <a:extLst>
              <a:ext uri="{FF2B5EF4-FFF2-40B4-BE49-F238E27FC236}">
                <a16:creationId xmlns:a16="http://schemas.microsoft.com/office/drawing/2014/main" id="{54A63456-DADF-7F29-4E0C-AE7F6C1AC39E}"/>
              </a:ext>
            </a:extLst>
          </p:cNvPr>
          <p:cNvSpPr>
            <a:spLocks noGrp="1"/>
          </p:cNvSpPr>
          <p:nvPr>
            <p:ph type="ftr" sz="quarter" idx="12"/>
          </p:nvPr>
        </p:nvSpPr>
        <p:spPr>
          <a:xfrm>
            <a:off x="584200" y="6477356"/>
            <a:ext cx="4114800" cy="123111"/>
          </a:xfrm>
          <a:prstGeom prst="rect">
            <a:avLst/>
          </a:prstGeom>
        </p:spPr>
        <p:txBody>
          <a:bodyPr/>
          <a:lstStyle>
            <a:lvl1pPr>
              <a:defRPr lang="en-US" sz="1000" smtClean="0"/>
            </a:lvl1pPr>
          </a:lstStyle>
          <a:p>
            <a:r>
              <a:rPr lang="en-US"/>
              <a:t>© 2025 Microsoft. All rights reserved. Internal Microsoft use only.</a:t>
            </a:r>
          </a:p>
        </p:txBody>
      </p:sp>
      <p:grpSp>
        <p:nvGrpSpPr>
          <p:cNvPr id="18" name="Group 17">
            <a:extLst>
              <a:ext uri="{FF2B5EF4-FFF2-40B4-BE49-F238E27FC236}">
                <a16:creationId xmlns:a16="http://schemas.microsoft.com/office/drawing/2014/main" id="{A51B7573-0B8A-E77F-9AFA-CC210E0CC1CD}"/>
              </a:ext>
            </a:extLst>
          </p:cNvPr>
          <p:cNvGrpSpPr/>
          <p:nvPr userDrawn="1"/>
        </p:nvGrpSpPr>
        <p:grpSpPr>
          <a:xfrm>
            <a:off x="584200" y="505950"/>
            <a:ext cx="2853068" cy="451525"/>
            <a:chOff x="584200" y="505950"/>
            <a:chExt cx="2853068" cy="451525"/>
          </a:xfrm>
        </p:grpSpPr>
        <p:pic>
          <p:nvPicPr>
            <p:cNvPr id="19" name="MS logo gray - EMF" descr="Microsoft logo, gray text version">
              <a:extLst>
                <a:ext uri="{FF2B5EF4-FFF2-40B4-BE49-F238E27FC236}">
                  <a16:creationId xmlns:a16="http://schemas.microsoft.com/office/drawing/2014/main" id="{ABDA55BA-00E4-874A-968A-61B4AAB47D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75514"/>
              <a:ext cx="1366440" cy="292608"/>
            </a:xfrm>
            <a:prstGeom prst="rect">
              <a:avLst/>
            </a:prstGeom>
          </p:spPr>
        </p:pic>
        <p:cxnSp>
          <p:nvCxnSpPr>
            <p:cNvPr id="20" name="Straight Connector 19">
              <a:extLst>
                <a:ext uri="{FF2B5EF4-FFF2-40B4-BE49-F238E27FC236}">
                  <a16:creationId xmlns:a16="http://schemas.microsoft.com/office/drawing/2014/main" id="{3CA71B17-3225-1ACD-F106-5F7475D41A19}"/>
                </a:ext>
              </a:extLst>
            </p:cNvPr>
            <p:cNvCxnSpPr/>
            <p:nvPr userDrawn="1"/>
          </p:nvCxnSpPr>
          <p:spPr>
            <a:xfrm>
              <a:off x="2102722" y="538283"/>
              <a:ext cx="0" cy="386861"/>
            </a:xfrm>
            <a:prstGeom prst="line">
              <a:avLst/>
            </a:prstGeom>
            <a:ln>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1" name="Picture 20" descr="A purple text on a black background&#10;&#10;Description automatically generated">
              <a:extLst>
                <a:ext uri="{FF2B5EF4-FFF2-40B4-BE49-F238E27FC236}">
                  <a16:creationId xmlns:a16="http://schemas.microsoft.com/office/drawing/2014/main" id="{C6E91F84-F66D-2329-CE2F-992C8358E1B1}"/>
                </a:ext>
              </a:extLst>
            </p:cNvPr>
            <p:cNvPicPr>
              <a:picLocks noChangeAspect="1"/>
            </p:cNvPicPr>
            <p:nvPr userDrawn="1"/>
          </p:nvPicPr>
          <p:blipFill>
            <a:blip r:embed="rId4"/>
            <a:stretch>
              <a:fillRect/>
            </a:stretch>
          </p:blipFill>
          <p:spPr>
            <a:xfrm>
              <a:off x="2267693" y="505950"/>
              <a:ext cx="1169575" cy="451525"/>
            </a:xfrm>
            <a:prstGeom prst="rect">
              <a:avLst/>
            </a:prstGeom>
          </p:spPr>
        </p:pic>
      </p:grpSp>
      <p:sp>
        <p:nvSpPr>
          <p:cNvPr id="22" name="Text Placeholder 2">
            <a:extLst>
              <a:ext uri="{FF2B5EF4-FFF2-40B4-BE49-F238E27FC236}">
                <a16:creationId xmlns:a16="http://schemas.microsoft.com/office/drawing/2014/main" id="{C1D50578-0B4A-A641-70A0-472F91D413EE}"/>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tx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3" name="Text Placeholder 20">
            <a:extLst>
              <a:ext uri="{FF2B5EF4-FFF2-40B4-BE49-F238E27FC236}">
                <a16:creationId xmlns:a16="http://schemas.microsoft.com/office/drawing/2014/main" id="{CCD3C242-8BFD-0D68-F8F1-C5F544BAC52B}"/>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tx1"/>
                </a:solidFill>
                <a:latin typeface="Segoe Sans Text" pitchFamily="2" charset="0"/>
                <a:cs typeface="Segoe Sans Text" pitchFamily="2" charset="0"/>
              </a:defRPr>
            </a:lvl1pPr>
          </a:lstStyle>
          <a:p>
            <a:pPr lvl="0"/>
            <a:r>
              <a:rPr lang="en-US"/>
              <a:t>Event name or presentation title</a:t>
            </a:r>
          </a:p>
        </p:txBody>
      </p:sp>
    </p:spTree>
    <p:custDataLst>
      <p:tags r:id="rId1"/>
    </p:custDataLst>
    <p:extLst>
      <p:ext uri="{BB962C8B-B14F-4D97-AF65-F5344CB8AC3E}">
        <p14:creationId xmlns:p14="http://schemas.microsoft.com/office/powerpoint/2010/main" val="4784964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372F3E58-8238-F351-C44F-4143411F4531}"/>
              </a:ext>
            </a:extLst>
          </p:cNvPr>
          <p:cNvPicPr>
            <a:picLocks noChangeAspect="1"/>
          </p:cNvPicPr>
          <p:nvPr userDrawn="1"/>
        </p:nvPicPr>
        <p:blipFill>
          <a:blip>
            <a:alphaModFix amt="40000"/>
            <a:extLst>
              <a:ext uri="{96DAC541-7B7A-43D3-8B79-37D633B846F1}">
                <asvg:svgBlip xmlns:asvg="http://schemas.microsoft.com/office/drawing/2016/SVG/main" r:embed="rId2"/>
              </a:ext>
            </a:extLst>
          </a:blip>
          <a:srcRect r="3226" b="30326"/>
          <a:stretch/>
        </p:blipFill>
        <p:spPr>
          <a:xfrm flipH="1">
            <a:off x="0" y="1727807"/>
            <a:ext cx="12192000" cy="5130193"/>
          </a:xfrm>
          <a:prstGeom prst="rect">
            <a:avLst/>
          </a:prstGeom>
        </p:spPr>
      </p:pic>
      <p:pic>
        <p:nvPicPr>
          <p:cNvPr id="5" name="Graphic 4">
            <a:extLst>
              <a:ext uri="{FF2B5EF4-FFF2-40B4-BE49-F238E27FC236}">
                <a16:creationId xmlns:a16="http://schemas.microsoft.com/office/drawing/2014/main" id="{509E60CC-4772-1FFF-D79F-DDD494809C6C}"/>
              </a:ext>
            </a:extLst>
          </p:cNvPr>
          <p:cNvPicPr>
            <a:picLocks noChangeAspect="1"/>
          </p:cNvPicPr>
          <p:nvPr userDrawn="1"/>
        </p:nvPicPr>
        <p:blipFill>
          <a:blip>
            <a:alphaModFix amt="40000"/>
            <a:extLst>
              <a:ext uri="{96DAC541-7B7A-43D3-8B79-37D633B846F1}">
                <asvg:svgBlip xmlns:asvg="http://schemas.microsoft.com/office/drawing/2016/SVG/main" r:embed="rId2"/>
              </a:ext>
            </a:extLst>
          </a:blip>
          <a:srcRect r="3226" b="30326"/>
          <a:stretch/>
        </p:blipFill>
        <p:spPr>
          <a:xfrm flipV="1">
            <a:off x="0" y="0"/>
            <a:ext cx="12192000" cy="5130193"/>
          </a:xfrm>
          <a:prstGeom prst="rect">
            <a:avLst/>
          </a:prstGeom>
        </p:spPr>
      </p:pic>
      <p:sp>
        <p:nvSpPr>
          <p:cNvPr id="18" name="Text Placeholder 20">
            <a:extLst>
              <a:ext uri="{FF2B5EF4-FFF2-40B4-BE49-F238E27FC236}">
                <a16:creationId xmlns:a16="http://schemas.microsoft.com/office/drawing/2014/main" id="{C26A100C-1C2E-2171-FA76-46181BAB2E85}"/>
              </a:ext>
            </a:extLst>
          </p:cNvPr>
          <p:cNvSpPr>
            <a:spLocks noGrp="1"/>
          </p:cNvSpPr>
          <p:nvPr>
            <p:ph type="body" sz="quarter" idx="13" hasCustomPrompt="1"/>
          </p:nvPr>
        </p:nvSpPr>
        <p:spPr>
          <a:xfrm>
            <a:off x="627787" y="1908175"/>
            <a:ext cx="7049364" cy="738188"/>
          </a:xfrm>
        </p:spPr>
        <p:txBody>
          <a:bodyPr/>
          <a:lstStyle>
            <a:lvl1pPr marL="0" indent="0">
              <a:buNone/>
              <a:defRPr sz="3600" b="1" i="0">
                <a:solidFill>
                  <a:schemeClr val="bg1"/>
                </a:solidFill>
                <a:latin typeface="+mj-lt"/>
                <a:cs typeface="Segoe Sans Text" pitchFamily="2" charset="0"/>
              </a:defRPr>
            </a:lvl1pPr>
          </a:lstStyle>
          <a:p>
            <a:pPr lvl="0"/>
            <a:r>
              <a:rPr lang="en-US"/>
              <a:t>Event name or presentation title</a:t>
            </a:r>
          </a:p>
        </p:txBody>
      </p:sp>
      <p:sp>
        <p:nvSpPr>
          <p:cNvPr id="8" name="Text Placeholder 2">
            <a:extLst>
              <a:ext uri="{FF2B5EF4-FFF2-40B4-BE49-F238E27FC236}">
                <a16:creationId xmlns:a16="http://schemas.microsoft.com/office/drawing/2014/main" id="{B5B72583-9DB5-0904-753E-0DDD84E70C9C}"/>
              </a:ext>
            </a:extLst>
          </p:cNvPr>
          <p:cNvSpPr>
            <a:spLocks noGrp="1"/>
          </p:cNvSpPr>
          <p:nvPr>
            <p:ph type="body" sz="quarter" idx="11" hasCustomPrompt="1"/>
          </p:nvPr>
        </p:nvSpPr>
        <p:spPr>
          <a:xfrm>
            <a:off x="627786" y="2678175"/>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10" name="Oval 9">
            <a:extLst>
              <a:ext uri="{FF2B5EF4-FFF2-40B4-BE49-F238E27FC236}">
                <a16:creationId xmlns:a16="http://schemas.microsoft.com/office/drawing/2014/main" id="{BF02A2B5-721F-37A8-D884-B5D0FD77A1D3}"/>
              </a:ext>
              <a:ext uri="{C183D7F6-B498-43B3-948B-1728B52AA6E4}">
                <adec:decorative xmlns:adec="http://schemas.microsoft.com/office/drawing/2017/decorative" val="1"/>
              </a:ext>
            </a:extLst>
          </p:cNvPr>
          <p:cNvSpPr>
            <a:spLocks/>
          </p:cNvSpPr>
          <p:nvPr userDrawn="1"/>
        </p:nvSpPr>
        <p:spPr bwMode="auto">
          <a:xfrm>
            <a:off x="7866414" y="1568217"/>
            <a:ext cx="3721566" cy="3721566"/>
          </a:xfrm>
          <a:prstGeom prst="ellipse">
            <a:avLst/>
          </a:prstGeom>
          <a:solidFill>
            <a:schemeClr val="bg1"/>
          </a:solidFill>
          <a:ln w="41275">
            <a:solidFill>
              <a:schemeClr val="accent3">
                <a:lumMod val="75000"/>
              </a:schemeClr>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600" tIns="0" rIns="0" bIns="0" numCol="1" spcCol="0" rtlCol="0" fromWordArt="0" anchor="ctr" anchorCtr="0" forceAA="0" compatLnSpc="1">
            <a:prstTxWarp prst="textNoShape">
              <a:avLst/>
            </a:prstTxWarp>
            <a:noAutofit/>
          </a:bodyPr>
          <a:lstStyle/>
          <a:p>
            <a:pPr algn="ctr" defTabSz="914460"/>
            <a:endParaRPr lang="en-US" sz="2400" b="1">
              <a:solidFill>
                <a:schemeClr val="accent1"/>
              </a:solidFill>
              <a:cs typeface="Segoe UI Semibold" panose="020B0702040204020203" pitchFamily="34" charset="0"/>
            </a:endParaRPr>
          </a:p>
        </p:txBody>
      </p:sp>
    </p:spTree>
    <p:extLst>
      <p:ext uri="{BB962C8B-B14F-4D97-AF65-F5344CB8AC3E}">
        <p14:creationId xmlns:p14="http://schemas.microsoft.com/office/powerpoint/2010/main" val="31812494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96272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77663C52-B9BA-2AAD-0294-CA29E27212E1}"/>
              </a:ext>
            </a:extLst>
          </p:cNvPr>
          <p:cNvCxnSpPr>
            <a:cxnSpLocks/>
          </p:cNvCxnSpPr>
          <p:nvPr userDrawn="1"/>
        </p:nvCxnSpPr>
        <p:spPr>
          <a:xfrm>
            <a:off x="11898312" y="0"/>
            <a:ext cx="0" cy="3048000"/>
          </a:xfrm>
          <a:prstGeom prst="line">
            <a:avLst/>
          </a:prstGeom>
          <a:ln w="3175">
            <a:gradFill flip="none" rotWithShape="1">
              <a:gsLst>
                <a:gs pos="14000">
                  <a:schemeClr val="bg1"/>
                </a:gs>
                <a:gs pos="100000">
                  <a:schemeClr val="accent6"/>
                </a:gs>
              </a:gsLst>
              <a:lin ang="162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E20AF4E8-2BED-0352-ECE4-BADB988925F0}"/>
              </a:ext>
            </a:extLst>
          </p:cNvPr>
          <p:cNvPicPr>
            <a:picLocks noChangeAspect="1"/>
          </p:cNvPicPr>
          <p:nvPr userDrawn="1"/>
        </p:nvPicPr>
        <p:blipFill rotWithShape="1">
          <a:blip>
            <a:alphaModFix amt="40000"/>
            <a:extLst>
              <a:ext uri="{96DAC541-7B7A-43D3-8B79-37D633B846F1}">
                <asvg:svgBlip xmlns:asvg="http://schemas.microsoft.com/office/drawing/2016/SVG/main" r:embed="rId2"/>
              </a:ext>
            </a:extLst>
          </a:blip>
          <a:srcRect l="6728" t="15844" r="2559" b="24788"/>
          <a:stretch/>
        </p:blipFill>
        <p:spPr>
          <a:xfrm>
            <a:off x="0" y="2194560"/>
            <a:ext cx="12192000" cy="4663440"/>
          </a:xfrm>
          <a:prstGeom prst="rect">
            <a:avLst/>
          </a:prstGeom>
        </p:spPr>
      </p:pic>
      <p:pic>
        <p:nvPicPr>
          <p:cNvPr id="4" name="Graphic 3">
            <a:extLst>
              <a:ext uri="{FF2B5EF4-FFF2-40B4-BE49-F238E27FC236}">
                <a16:creationId xmlns:a16="http://schemas.microsoft.com/office/drawing/2014/main" id="{2189DF10-AF91-71E5-A372-40BB49B117FF}"/>
              </a:ext>
            </a:extLst>
          </p:cNvPr>
          <p:cNvPicPr>
            <a:picLocks noChangeAspect="1"/>
          </p:cNvPicPr>
          <p:nvPr userDrawn="1"/>
        </p:nvPicPr>
        <p:blipFill rotWithShape="1">
          <a:blip>
            <a:extLst>
              <a:ext uri="{96DAC541-7B7A-43D3-8B79-37D633B846F1}">
                <asvg:svgBlip xmlns:asvg="http://schemas.microsoft.com/office/drawing/2016/SVG/main" r:embed="rId3"/>
              </a:ext>
            </a:extLst>
          </a:blip>
          <a:srcRect l="71156" t="9459" r="7061" b="19819"/>
          <a:stretch/>
        </p:blipFill>
        <p:spPr>
          <a:xfrm>
            <a:off x="541022" y="876300"/>
            <a:ext cx="3092439" cy="5981701"/>
          </a:xfrm>
          <a:custGeom>
            <a:avLst/>
            <a:gdLst>
              <a:gd name="connsiteX0" fmla="*/ 134428 w 3092439"/>
              <a:gd name="connsiteY0" fmla="*/ 0 h 5981701"/>
              <a:gd name="connsiteX1" fmla="*/ 2958011 w 3092439"/>
              <a:gd name="connsiteY1" fmla="*/ 0 h 5981701"/>
              <a:gd name="connsiteX2" fmla="*/ 3092439 w 3092439"/>
              <a:gd name="connsiteY2" fmla="*/ 134428 h 5981701"/>
              <a:gd name="connsiteX3" fmla="*/ 3092439 w 3092439"/>
              <a:gd name="connsiteY3" fmla="*/ 5981701 h 5981701"/>
              <a:gd name="connsiteX4" fmla="*/ 0 w 3092439"/>
              <a:gd name="connsiteY4" fmla="*/ 5981701 h 5981701"/>
              <a:gd name="connsiteX5" fmla="*/ 0 w 3092439"/>
              <a:gd name="connsiteY5" fmla="*/ 134428 h 5981701"/>
              <a:gd name="connsiteX6" fmla="*/ 134428 w 3092439"/>
              <a:gd name="connsiteY6" fmla="*/ 0 h 598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92439" h="5981701">
                <a:moveTo>
                  <a:pt x="134428" y="0"/>
                </a:moveTo>
                <a:lnTo>
                  <a:pt x="2958011" y="0"/>
                </a:lnTo>
                <a:cubicBezTo>
                  <a:pt x="3032254" y="0"/>
                  <a:pt x="3092439" y="60185"/>
                  <a:pt x="3092439" y="134428"/>
                </a:cubicBezTo>
                <a:lnTo>
                  <a:pt x="3092439" y="5981701"/>
                </a:lnTo>
                <a:lnTo>
                  <a:pt x="0" y="5981701"/>
                </a:lnTo>
                <a:lnTo>
                  <a:pt x="0" y="134428"/>
                </a:lnTo>
                <a:cubicBezTo>
                  <a:pt x="0" y="60185"/>
                  <a:pt x="60185" y="0"/>
                  <a:pt x="134428" y="0"/>
                </a:cubicBezTo>
                <a:close/>
              </a:path>
            </a:pathLst>
          </a:custGeom>
        </p:spPr>
      </p:pic>
      <p:cxnSp>
        <p:nvCxnSpPr>
          <p:cNvPr id="5" name="Straight Connector 4">
            <a:extLst>
              <a:ext uri="{FF2B5EF4-FFF2-40B4-BE49-F238E27FC236}">
                <a16:creationId xmlns:a16="http://schemas.microsoft.com/office/drawing/2014/main" id="{EFCFBA58-466F-8617-2969-0717A56BE2B8}"/>
              </a:ext>
            </a:extLst>
          </p:cNvPr>
          <p:cNvCxnSpPr>
            <a:cxnSpLocks/>
          </p:cNvCxnSpPr>
          <p:nvPr userDrawn="1"/>
        </p:nvCxnSpPr>
        <p:spPr>
          <a:xfrm>
            <a:off x="0" y="739095"/>
            <a:ext cx="12192000" cy="0"/>
          </a:xfrm>
          <a:prstGeom prst="line">
            <a:avLst/>
          </a:prstGeom>
          <a:ln w="3175">
            <a:gradFill flip="none" rotWithShape="1">
              <a:gsLst>
                <a:gs pos="55000">
                  <a:schemeClr val="bg1"/>
                </a:gs>
                <a:gs pos="100000">
                  <a:schemeClr val="accent6"/>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ree-form: Shape 5">
            <a:extLst>
              <a:ext uri="{FF2B5EF4-FFF2-40B4-BE49-F238E27FC236}">
                <a16:creationId xmlns:a16="http://schemas.microsoft.com/office/drawing/2014/main" id="{FD4354AD-0236-E9F7-7076-7E08ABC1B34A}"/>
              </a:ext>
            </a:extLst>
          </p:cNvPr>
          <p:cNvSpPr/>
          <p:nvPr userDrawn="1"/>
        </p:nvSpPr>
        <p:spPr>
          <a:xfrm>
            <a:off x="-8583" y="302378"/>
            <a:ext cx="11618226" cy="6078757"/>
          </a:xfrm>
          <a:custGeom>
            <a:avLst/>
            <a:gdLst>
              <a:gd name="connsiteX0" fmla="*/ 11594629 w 11594629"/>
              <a:gd name="connsiteY0" fmla="*/ 216585 h 6066411"/>
              <a:gd name="connsiteX1" fmla="*/ 11594629 w 11594629"/>
              <a:gd name="connsiteY1" fmla="*/ 5849826 h 6066411"/>
              <a:gd name="connsiteX2" fmla="*/ 11378044 w 11594629"/>
              <a:gd name="connsiteY2" fmla="*/ 6066412 h 6066411"/>
              <a:gd name="connsiteX3" fmla="*/ 3877829 w 11594629"/>
              <a:gd name="connsiteY3" fmla="*/ 6066412 h 6066411"/>
              <a:gd name="connsiteX4" fmla="*/ 3754647 w 11594629"/>
              <a:gd name="connsiteY4" fmla="*/ 5943229 h 6066411"/>
              <a:gd name="connsiteX5" fmla="*/ 3754647 w 11594629"/>
              <a:gd name="connsiteY5" fmla="*/ 590069 h 6066411"/>
              <a:gd name="connsiteX6" fmla="*/ 3599019 w 11594629"/>
              <a:gd name="connsiteY6" fmla="*/ 434440 h 6066411"/>
              <a:gd name="connsiteX7" fmla="*/ 573877 w 11594629"/>
              <a:gd name="connsiteY7" fmla="*/ 434440 h 6066411"/>
              <a:gd name="connsiteX8" fmla="*/ 418248 w 11594629"/>
              <a:gd name="connsiteY8" fmla="*/ 590069 h 6066411"/>
              <a:gd name="connsiteX9" fmla="*/ 418248 w 11594629"/>
              <a:gd name="connsiteY9" fmla="*/ 5943229 h 6066411"/>
              <a:gd name="connsiteX10" fmla="*/ 295066 w 11594629"/>
              <a:gd name="connsiteY10" fmla="*/ 6066412 h 6066411"/>
              <a:gd name="connsiteX11" fmla="*/ 0 w 11594629"/>
              <a:gd name="connsiteY11" fmla="*/ 6066412 h 6066411"/>
              <a:gd name="connsiteX12" fmla="*/ 0 w 11594629"/>
              <a:gd name="connsiteY12" fmla="*/ 0 h 6066411"/>
              <a:gd name="connsiteX13" fmla="*/ 11378044 w 11594629"/>
              <a:gd name="connsiteY13" fmla="*/ 0 h 6066411"/>
              <a:gd name="connsiteX14" fmla="*/ 11594629 w 11594629"/>
              <a:gd name="connsiteY14" fmla="*/ 216585 h 606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594629" h="6066411">
                <a:moveTo>
                  <a:pt x="11594629" y="216585"/>
                </a:moveTo>
                <a:lnTo>
                  <a:pt x="11594629" y="5849826"/>
                </a:lnTo>
                <a:cubicBezTo>
                  <a:pt x="11594629" y="5969453"/>
                  <a:pt x="11497671" y="6066412"/>
                  <a:pt x="11378044" y="6066412"/>
                </a:cubicBezTo>
                <a:lnTo>
                  <a:pt x="3877829" y="6066412"/>
                </a:lnTo>
                <a:cubicBezTo>
                  <a:pt x="3809762" y="6066412"/>
                  <a:pt x="3754647" y="6011234"/>
                  <a:pt x="3754647" y="5943229"/>
                </a:cubicBezTo>
                <a:lnTo>
                  <a:pt x="3754647" y="590069"/>
                </a:lnTo>
                <a:cubicBezTo>
                  <a:pt x="3754647" y="504095"/>
                  <a:pt x="3684992" y="434440"/>
                  <a:pt x="3599019" y="434440"/>
                </a:cubicBezTo>
                <a:lnTo>
                  <a:pt x="573877" y="434440"/>
                </a:lnTo>
                <a:cubicBezTo>
                  <a:pt x="487903" y="434440"/>
                  <a:pt x="418248" y="504159"/>
                  <a:pt x="418248" y="590069"/>
                </a:cubicBezTo>
                <a:lnTo>
                  <a:pt x="418248" y="5943229"/>
                </a:lnTo>
                <a:cubicBezTo>
                  <a:pt x="418248" y="6011297"/>
                  <a:pt x="363070" y="6066412"/>
                  <a:pt x="295066" y="6066412"/>
                </a:cubicBezTo>
                <a:lnTo>
                  <a:pt x="0" y="6066412"/>
                </a:lnTo>
                <a:lnTo>
                  <a:pt x="0" y="0"/>
                </a:lnTo>
                <a:lnTo>
                  <a:pt x="11378044" y="0"/>
                </a:lnTo>
                <a:cubicBezTo>
                  <a:pt x="11497671" y="0"/>
                  <a:pt x="11594629" y="96958"/>
                  <a:pt x="11594629" y="216585"/>
                </a:cubicBezTo>
                <a:close/>
              </a:path>
            </a:pathLst>
          </a:cu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wrap="square" rtlCol="0" anchor="ctr">
            <a:noAutofit/>
          </a:bodyPr>
          <a:lstStyle/>
          <a:p>
            <a:endParaRPr lang="en-GB"/>
          </a:p>
        </p:txBody>
      </p:sp>
      <p:sp>
        <p:nvSpPr>
          <p:cNvPr id="34" name="Text Placeholder 33">
            <a:extLst>
              <a:ext uri="{FF2B5EF4-FFF2-40B4-BE49-F238E27FC236}">
                <a16:creationId xmlns:a16="http://schemas.microsoft.com/office/drawing/2014/main" id="{C1453E83-308F-3E6C-ADCB-F6B51C1C9984}"/>
              </a:ext>
            </a:extLst>
          </p:cNvPr>
          <p:cNvSpPr>
            <a:spLocks noGrp="1"/>
          </p:cNvSpPr>
          <p:nvPr>
            <p:ph type="body" sz="quarter" idx="10" hasCustomPrompt="1"/>
          </p:nvPr>
        </p:nvSpPr>
        <p:spPr>
          <a:xfrm>
            <a:off x="831387" y="4032531"/>
            <a:ext cx="2511708" cy="707886"/>
          </a:xfrm>
        </p:spPr>
        <p:txBody>
          <a:bodyPr/>
          <a:lstStyle>
            <a:lvl1pPr marL="0" indent="0" algn="ctr" defTabSz="914400" rtl="0" eaLnBrk="1" latinLnBrk="0" hangingPunct="1">
              <a:buNone/>
              <a:defRPr lang="en-GB" sz="4600" b="0" i="0" kern="1200" dirty="0">
                <a:solidFill>
                  <a:schemeClr val="bg1"/>
                </a:solidFill>
                <a:latin typeface="+mj-lt"/>
                <a:ea typeface="+mn-ea"/>
                <a:cs typeface="Segoe Sans Text Semibold" pitchFamily="2" charset="0"/>
              </a:defRPr>
            </a:lvl1pPr>
            <a:lvl2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2pPr>
            <a:lvl3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3pPr>
            <a:lvl4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4pPr>
            <a:lvl5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5pPr>
          </a:lstStyle>
          <a:p>
            <a:pPr lvl="0"/>
            <a:r>
              <a:rPr lang="en-GB"/>
              <a:t>AGENDA</a:t>
            </a:r>
          </a:p>
        </p:txBody>
      </p:sp>
      <p:pic>
        <p:nvPicPr>
          <p:cNvPr id="14" name="Picture 13" descr="A screenshot of a cell phone&#10;&#10;AI-generated content may be incorrect.">
            <a:extLst>
              <a:ext uri="{FF2B5EF4-FFF2-40B4-BE49-F238E27FC236}">
                <a16:creationId xmlns:a16="http://schemas.microsoft.com/office/drawing/2014/main" id="{C0C3BA71-2352-AD63-B476-BF5E41D5894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3866" y="2641600"/>
            <a:ext cx="994248" cy="1219306"/>
          </a:xfrm>
          <a:prstGeom prst="rect">
            <a:avLst/>
          </a:prstGeom>
        </p:spPr>
      </p:pic>
    </p:spTree>
    <p:extLst>
      <p:ext uri="{BB962C8B-B14F-4D97-AF65-F5344CB8AC3E}">
        <p14:creationId xmlns:p14="http://schemas.microsoft.com/office/powerpoint/2010/main" val="323593462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pic>
        <p:nvPicPr>
          <p:cNvPr id="11" name="Picture 10" descr="A blue background with a light&#10;&#10;AI-generated content may be incorrect.">
            <a:extLst>
              <a:ext uri="{FF2B5EF4-FFF2-40B4-BE49-F238E27FC236}">
                <a16:creationId xmlns:a16="http://schemas.microsoft.com/office/drawing/2014/main" id="{3FC72557-3C59-DB05-F117-34400904D0D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pic>
        <p:nvPicPr>
          <p:cNvPr id="6" name="Picture 5">
            <a:extLst>
              <a:ext uri="{FF2B5EF4-FFF2-40B4-BE49-F238E27FC236}">
                <a16:creationId xmlns:a16="http://schemas.microsoft.com/office/drawing/2014/main" id="{B9EE9B54-C910-AF4F-330A-965CE1B959D5}"/>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mn-lt"/>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tx1"/>
                </a:solidFill>
                <a:latin typeface="+mn-lt"/>
                <a:cs typeface="Segoe UI Semibold" panose="020B0502040204020203" pitchFamily="34" charset="0"/>
              </a:defRPr>
            </a:lvl1pPr>
          </a:lstStyle>
          <a:p>
            <a:pPr lvl="0"/>
            <a:r>
              <a:rPr lang="en-US"/>
              <a:t>Name</a:t>
            </a:r>
          </a:p>
        </p:txBody>
      </p:sp>
      <p:pic>
        <p:nvPicPr>
          <p:cNvPr id="7" name="Picture 6" descr="Quotation mark">
            <a:extLst>
              <a:ext uri="{FF2B5EF4-FFF2-40B4-BE49-F238E27FC236}">
                <a16:creationId xmlns:a16="http://schemas.microsoft.com/office/drawing/2014/main" id="{EABB847D-C857-0388-8E19-D6724CB4046B}"/>
              </a:ext>
            </a:extLst>
          </p:cNvPr>
          <p:cNvPicPr>
            <a:picLocks noChangeAspect="1"/>
          </p:cNvPicPr>
          <p:nvPr userDrawn="1"/>
        </p:nvPicPr>
        <p:blipFill>
          <a:blip r:embed="rId4"/>
          <a:stretch>
            <a:fillRect/>
          </a:stretch>
        </p:blipFill>
        <p:spPr>
          <a:xfrm>
            <a:off x="584200" y="1490472"/>
            <a:ext cx="2226687" cy="1938528"/>
          </a:xfrm>
          <a:prstGeom prst="rect">
            <a:avLst/>
          </a:prstGeom>
          <a:noFill/>
        </p:spPr>
      </p:pic>
      <p:sp>
        <p:nvSpPr>
          <p:cNvPr id="3" name="Title 1">
            <a:extLst>
              <a:ext uri="{FF2B5EF4-FFF2-40B4-BE49-F238E27FC236}">
                <a16:creationId xmlns:a16="http://schemas.microsoft.com/office/drawing/2014/main" id="{C62AA90A-06F1-29E3-2ABB-61028BFA1A77}"/>
              </a:ext>
            </a:extLst>
          </p:cNvPr>
          <p:cNvSpPr>
            <a:spLocks noGrp="1"/>
          </p:cNvSpPr>
          <p:nvPr>
            <p:ph type="title"/>
          </p:nvPr>
        </p:nvSpPr>
        <p:spPr>
          <a:xfrm>
            <a:off x="3582416" y="3088260"/>
            <a:ext cx="8025384" cy="498598"/>
          </a:xfrm>
          <a:prstGeom prst="rect">
            <a:avLst/>
          </a:prstGeom>
        </p:spPr>
        <p:txBody>
          <a:bodyPr lIns="0" rIns="0"/>
          <a:lstStyle>
            <a:lvl1pPr marL="0" algn="l" defTabSz="457200" rtl="0" eaLnBrk="1" latinLnBrk="0" hangingPunct="1">
              <a:lnSpc>
                <a:spcPct val="90000"/>
              </a:lnSpc>
              <a:spcBef>
                <a:spcPts val="0"/>
              </a:spcBef>
              <a:buNone/>
              <a:defRPr lang="en-US" sz="3600" b="0" kern="1200" cap="none" spc="0" baseline="0" dirty="0">
                <a:ln>
                  <a:noFill/>
                </a:ln>
                <a:gradFill flip="none" rotWithShape="1">
                  <a:gsLst>
                    <a:gs pos="0">
                      <a:srgbClr val="94D8FE"/>
                    </a:gs>
                    <a:gs pos="100000">
                      <a:prstClr val="white"/>
                    </a:gs>
                  </a:gsLst>
                  <a:lin ang="162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84784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2" name="Graphic 28">
            <a:extLst>
              <a:ext uri="{FF2B5EF4-FFF2-40B4-BE49-F238E27FC236}">
                <a16:creationId xmlns:a16="http://schemas.microsoft.com/office/drawing/2014/main" id="{4771557B-18CC-F252-5834-240E2A0227D4}"/>
              </a:ext>
            </a:extLst>
          </p:cNvPr>
          <p:cNvSpPr/>
          <p:nvPr userDrawn="1"/>
        </p:nvSpPr>
        <p:spPr>
          <a:xfrm>
            <a:off x="0" y="0"/>
            <a:ext cx="3904861" cy="6858000"/>
          </a:xfrm>
          <a:custGeom>
            <a:avLst/>
            <a:gdLst>
              <a:gd name="connsiteX0" fmla="*/ 3904862 w 3904861"/>
              <a:gd name="connsiteY0" fmla="*/ 679247 h 6858000"/>
              <a:gd name="connsiteX1" fmla="*/ 3904862 w 3904861"/>
              <a:gd name="connsiteY1" fmla="*/ 6142236 h 6858000"/>
              <a:gd name="connsiteX2" fmla="*/ 3708346 w 3904861"/>
              <a:gd name="connsiteY2" fmla="*/ 6338815 h 6858000"/>
              <a:gd name="connsiteX3" fmla="*/ 466001 w 3904861"/>
              <a:gd name="connsiteY3" fmla="*/ 6338815 h 6858000"/>
              <a:gd name="connsiteX4" fmla="*/ 125136 w 3904861"/>
              <a:gd name="connsiteY4" fmla="*/ 6679616 h 6858000"/>
              <a:gd name="connsiteX5" fmla="*/ 125136 w 3904861"/>
              <a:gd name="connsiteY5" fmla="*/ 6858000 h 6858000"/>
              <a:gd name="connsiteX6" fmla="*/ 0 w 3904861"/>
              <a:gd name="connsiteY6" fmla="*/ 6858000 h 6858000"/>
              <a:gd name="connsiteX7" fmla="*/ 0 w 3904861"/>
              <a:gd name="connsiteY7" fmla="*/ 0 h 6858000"/>
              <a:gd name="connsiteX8" fmla="*/ 125136 w 3904861"/>
              <a:gd name="connsiteY8" fmla="*/ 0 h 6858000"/>
              <a:gd name="connsiteX9" fmla="*/ 125136 w 3904861"/>
              <a:gd name="connsiteY9" fmla="*/ 141868 h 6858000"/>
              <a:gd name="connsiteX10" fmla="*/ 466001 w 3904861"/>
              <a:gd name="connsiteY10" fmla="*/ 482668 h 6858000"/>
              <a:gd name="connsiteX11" fmla="*/ 3708346 w 3904861"/>
              <a:gd name="connsiteY11" fmla="*/ 482668 h 6858000"/>
              <a:gd name="connsiteX12" fmla="*/ 3904862 w 3904861"/>
              <a:gd name="connsiteY12" fmla="*/ 6792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4861" h="6858000">
                <a:moveTo>
                  <a:pt x="3904862" y="679247"/>
                </a:moveTo>
                <a:lnTo>
                  <a:pt x="3904862" y="6142236"/>
                </a:lnTo>
                <a:cubicBezTo>
                  <a:pt x="3904862" y="6250768"/>
                  <a:pt x="3816878" y="6338815"/>
                  <a:pt x="3708346" y="6338815"/>
                </a:cubicBezTo>
                <a:lnTo>
                  <a:pt x="466001" y="6338815"/>
                </a:lnTo>
                <a:cubicBezTo>
                  <a:pt x="277755" y="6338815"/>
                  <a:pt x="125136" y="6491371"/>
                  <a:pt x="125136" y="6679616"/>
                </a:cubicBezTo>
                <a:lnTo>
                  <a:pt x="125136" y="6858000"/>
                </a:lnTo>
                <a:lnTo>
                  <a:pt x="0" y="6858000"/>
                </a:lnTo>
                <a:lnTo>
                  <a:pt x="0" y="0"/>
                </a:lnTo>
                <a:lnTo>
                  <a:pt x="125136" y="0"/>
                </a:lnTo>
                <a:lnTo>
                  <a:pt x="125136" y="141868"/>
                </a:lnTo>
                <a:cubicBezTo>
                  <a:pt x="125136" y="330113"/>
                  <a:pt x="277755" y="482668"/>
                  <a:pt x="466001" y="482668"/>
                </a:cubicBezTo>
                <a:lnTo>
                  <a:pt x="3708346" y="482668"/>
                </a:lnTo>
                <a:cubicBezTo>
                  <a:pt x="3816878" y="482668"/>
                  <a:pt x="3904862" y="570715"/>
                  <a:pt x="3904862" y="679247"/>
                </a:cubicBezTo>
                <a:close/>
              </a:path>
            </a:pathLst>
          </a:cu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3">
                <a:alpha val="15000"/>
              </a:schemeClr>
            </a:outerShdw>
          </a:effectLst>
        </p:spPr>
        <p:txBody>
          <a:bodyPr rtlCol="0" anchor="ctr"/>
          <a:lstStyle/>
          <a:p>
            <a:endParaRPr lang="en-GB"/>
          </a:p>
        </p:txBody>
      </p:sp>
      <p:pic>
        <p:nvPicPr>
          <p:cNvPr id="5" name="Graphic 4">
            <a:extLst>
              <a:ext uri="{FF2B5EF4-FFF2-40B4-BE49-F238E27FC236}">
                <a16:creationId xmlns:a16="http://schemas.microsoft.com/office/drawing/2014/main" id="{D85F8354-0066-19BE-0974-A2A7C80DA71B}"/>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65130" t="9459" r="7061" b="9459"/>
          <a:stretch/>
        </p:blipFill>
        <p:spPr>
          <a:xfrm>
            <a:off x="556804" y="666750"/>
            <a:ext cx="3180354" cy="5524500"/>
          </a:xfrm>
          <a:prstGeom prst="roundRect">
            <a:avLst>
              <a:gd name="adj" fmla="val 3090"/>
            </a:avLst>
          </a:prstGeom>
        </p:spPr>
      </p:pic>
      <p:pic>
        <p:nvPicPr>
          <p:cNvPr id="8" name="Picture 7" descr="A screenshot of a cell phone&#10;&#10;AI-generated content may be incorrect.">
            <a:extLst>
              <a:ext uri="{FF2B5EF4-FFF2-40B4-BE49-F238E27FC236}">
                <a16:creationId xmlns:a16="http://schemas.microsoft.com/office/drawing/2014/main" id="{9094B8BC-9B9E-C78E-EAEF-7046979994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3866" y="2379592"/>
            <a:ext cx="994248" cy="1219306"/>
          </a:xfrm>
          <a:prstGeom prst="rect">
            <a:avLst/>
          </a:prstGeom>
        </p:spPr>
      </p:pic>
      <p:sp>
        <p:nvSpPr>
          <p:cNvPr id="11" name="Text Placeholder 33">
            <a:extLst>
              <a:ext uri="{FF2B5EF4-FFF2-40B4-BE49-F238E27FC236}">
                <a16:creationId xmlns:a16="http://schemas.microsoft.com/office/drawing/2014/main" id="{5EF63884-A470-8A28-9FAE-EEEE1042D5DD}"/>
              </a:ext>
            </a:extLst>
          </p:cNvPr>
          <p:cNvSpPr>
            <a:spLocks noGrp="1"/>
          </p:cNvSpPr>
          <p:nvPr>
            <p:ph type="body" sz="quarter" idx="11" hasCustomPrompt="1"/>
          </p:nvPr>
        </p:nvSpPr>
        <p:spPr>
          <a:xfrm>
            <a:off x="831387" y="4032531"/>
            <a:ext cx="2511708" cy="707886"/>
          </a:xfrm>
        </p:spPr>
        <p:txBody>
          <a:bodyPr/>
          <a:lstStyle>
            <a:lvl1pPr marL="0" indent="0" algn="ctr" defTabSz="914400" rtl="0" eaLnBrk="1" latinLnBrk="0" hangingPunct="1">
              <a:buNone/>
              <a:defRPr lang="en-GB" sz="4600" b="0" i="0" kern="1200" dirty="0">
                <a:solidFill>
                  <a:schemeClr val="bg1"/>
                </a:solidFill>
                <a:latin typeface="+mj-lt"/>
                <a:ea typeface="+mn-ea"/>
                <a:cs typeface="Segoe Sans Text Semibold" pitchFamily="2" charset="0"/>
              </a:defRPr>
            </a:lvl1pPr>
            <a:lvl2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2pPr>
            <a:lvl3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3pPr>
            <a:lvl4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4pPr>
            <a:lvl5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5pPr>
          </a:lstStyle>
          <a:p>
            <a:pPr lvl="0"/>
            <a:r>
              <a:rPr lang="en-GB"/>
              <a:t>AGENDA</a:t>
            </a:r>
          </a:p>
        </p:txBody>
      </p:sp>
      <p:sp>
        <p:nvSpPr>
          <p:cNvPr id="4" name="Text Placeholder 3">
            <a:extLst>
              <a:ext uri="{FF2B5EF4-FFF2-40B4-BE49-F238E27FC236}">
                <a16:creationId xmlns:a16="http://schemas.microsoft.com/office/drawing/2014/main" id="{3836F576-62BB-5DA2-1912-B7745700BAEA}"/>
              </a:ext>
            </a:extLst>
          </p:cNvPr>
          <p:cNvSpPr>
            <a:spLocks noGrp="1"/>
          </p:cNvSpPr>
          <p:nvPr>
            <p:ph type="body" sz="quarter" idx="13" hasCustomPrompt="1"/>
          </p:nvPr>
        </p:nvSpPr>
        <p:spPr>
          <a:xfrm>
            <a:off x="5391150" y="751345"/>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6" name="Text Placeholder 3">
            <a:extLst>
              <a:ext uri="{FF2B5EF4-FFF2-40B4-BE49-F238E27FC236}">
                <a16:creationId xmlns:a16="http://schemas.microsoft.com/office/drawing/2014/main" id="{BA1BA759-8C2B-40EF-638C-3BC0B69F909C}"/>
              </a:ext>
            </a:extLst>
          </p:cNvPr>
          <p:cNvSpPr>
            <a:spLocks noGrp="1"/>
          </p:cNvSpPr>
          <p:nvPr>
            <p:ph type="body" sz="quarter" idx="14" hasCustomPrompt="1"/>
          </p:nvPr>
        </p:nvSpPr>
        <p:spPr>
          <a:xfrm>
            <a:off x="5391150" y="5737325"/>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7" name="Text Placeholder 3">
            <a:extLst>
              <a:ext uri="{FF2B5EF4-FFF2-40B4-BE49-F238E27FC236}">
                <a16:creationId xmlns:a16="http://schemas.microsoft.com/office/drawing/2014/main" id="{AE7B38DC-4421-A292-8F85-D84E2A68EFE5}"/>
              </a:ext>
            </a:extLst>
          </p:cNvPr>
          <p:cNvSpPr>
            <a:spLocks noGrp="1"/>
          </p:cNvSpPr>
          <p:nvPr>
            <p:ph type="body" sz="quarter" idx="15" hasCustomPrompt="1"/>
          </p:nvPr>
        </p:nvSpPr>
        <p:spPr>
          <a:xfrm>
            <a:off x="5391150" y="4906330"/>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9" name="Text Placeholder 3">
            <a:extLst>
              <a:ext uri="{FF2B5EF4-FFF2-40B4-BE49-F238E27FC236}">
                <a16:creationId xmlns:a16="http://schemas.microsoft.com/office/drawing/2014/main" id="{70F1EAB8-7E96-7D03-C8C8-CB67D7E4DBF5}"/>
              </a:ext>
            </a:extLst>
          </p:cNvPr>
          <p:cNvSpPr>
            <a:spLocks noGrp="1"/>
          </p:cNvSpPr>
          <p:nvPr>
            <p:ph type="body" sz="quarter" idx="16" hasCustomPrompt="1"/>
          </p:nvPr>
        </p:nvSpPr>
        <p:spPr>
          <a:xfrm>
            <a:off x="5391150" y="4075333"/>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13" name="Text Placeholder 3">
            <a:extLst>
              <a:ext uri="{FF2B5EF4-FFF2-40B4-BE49-F238E27FC236}">
                <a16:creationId xmlns:a16="http://schemas.microsoft.com/office/drawing/2014/main" id="{55334C68-569C-8C4A-CF2C-5A8C062BCA87}"/>
              </a:ext>
            </a:extLst>
          </p:cNvPr>
          <p:cNvSpPr>
            <a:spLocks noGrp="1"/>
          </p:cNvSpPr>
          <p:nvPr>
            <p:ph type="body" sz="quarter" idx="17" hasCustomPrompt="1"/>
          </p:nvPr>
        </p:nvSpPr>
        <p:spPr>
          <a:xfrm>
            <a:off x="5391150" y="3244336"/>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14" name="Text Placeholder 3">
            <a:extLst>
              <a:ext uri="{FF2B5EF4-FFF2-40B4-BE49-F238E27FC236}">
                <a16:creationId xmlns:a16="http://schemas.microsoft.com/office/drawing/2014/main" id="{9C6D4EF4-E78D-6429-229D-933CE61079C4}"/>
              </a:ext>
            </a:extLst>
          </p:cNvPr>
          <p:cNvSpPr>
            <a:spLocks noGrp="1"/>
          </p:cNvSpPr>
          <p:nvPr>
            <p:ph type="body" sz="quarter" idx="18" hasCustomPrompt="1"/>
          </p:nvPr>
        </p:nvSpPr>
        <p:spPr>
          <a:xfrm>
            <a:off x="5391150" y="2413339"/>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15" name="Text Placeholder 3">
            <a:extLst>
              <a:ext uri="{FF2B5EF4-FFF2-40B4-BE49-F238E27FC236}">
                <a16:creationId xmlns:a16="http://schemas.microsoft.com/office/drawing/2014/main" id="{ADE323C6-E039-0E48-D642-2627ED258F52}"/>
              </a:ext>
            </a:extLst>
          </p:cNvPr>
          <p:cNvSpPr>
            <a:spLocks noGrp="1"/>
          </p:cNvSpPr>
          <p:nvPr>
            <p:ph type="body" sz="quarter" idx="19" hasCustomPrompt="1"/>
          </p:nvPr>
        </p:nvSpPr>
        <p:spPr>
          <a:xfrm>
            <a:off x="5391150" y="1582342"/>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17" name="Text Placeholder 16">
            <a:extLst>
              <a:ext uri="{FF2B5EF4-FFF2-40B4-BE49-F238E27FC236}">
                <a16:creationId xmlns:a16="http://schemas.microsoft.com/office/drawing/2014/main" id="{1F4E7561-AD35-4294-00CA-9E5A5B5920C9}"/>
              </a:ext>
            </a:extLst>
          </p:cNvPr>
          <p:cNvSpPr>
            <a:spLocks noGrp="1"/>
          </p:cNvSpPr>
          <p:nvPr>
            <p:ph type="body" sz="quarter" idx="20" hasCustomPrompt="1"/>
          </p:nvPr>
        </p:nvSpPr>
        <p:spPr>
          <a:xfrm>
            <a:off x="4360038" y="689790"/>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
        <p:nvSpPr>
          <p:cNvPr id="18" name="Text Placeholder 16">
            <a:extLst>
              <a:ext uri="{FF2B5EF4-FFF2-40B4-BE49-F238E27FC236}">
                <a16:creationId xmlns:a16="http://schemas.microsoft.com/office/drawing/2014/main" id="{C23A20BF-A199-B069-9D31-159FCEE5C00C}"/>
              </a:ext>
            </a:extLst>
          </p:cNvPr>
          <p:cNvSpPr>
            <a:spLocks noGrp="1"/>
          </p:cNvSpPr>
          <p:nvPr>
            <p:ph type="body" sz="quarter" idx="21" hasCustomPrompt="1"/>
          </p:nvPr>
        </p:nvSpPr>
        <p:spPr>
          <a:xfrm>
            <a:off x="4360038" y="5675770"/>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
        <p:nvSpPr>
          <p:cNvPr id="19" name="Text Placeholder 16">
            <a:extLst>
              <a:ext uri="{FF2B5EF4-FFF2-40B4-BE49-F238E27FC236}">
                <a16:creationId xmlns:a16="http://schemas.microsoft.com/office/drawing/2014/main" id="{3CBD4591-B564-26BA-AEB7-E5D7FD942ABC}"/>
              </a:ext>
            </a:extLst>
          </p:cNvPr>
          <p:cNvSpPr>
            <a:spLocks noGrp="1"/>
          </p:cNvSpPr>
          <p:nvPr>
            <p:ph type="body" sz="quarter" idx="22" hasCustomPrompt="1"/>
          </p:nvPr>
        </p:nvSpPr>
        <p:spPr>
          <a:xfrm>
            <a:off x="4360038" y="4844775"/>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
        <p:nvSpPr>
          <p:cNvPr id="20" name="Text Placeholder 16">
            <a:extLst>
              <a:ext uri="{FF2B5EF4-FFF2-40B4-BE49-F238E27FC236}">
                <a16:creationId xmlns:a16="http://schemas.microsoft.com/office/drawing/2014/main" id="{5326BAD1-F62E-1FDF-AB3B-A98FD33FCB22}"/>
              </a:ext>
            </a:extLst>
          </p:cNvPr>
          <p:cNvSpPr>
            <a:spLocks noGrp="1"/>
          </p:cNvSpPr>
          <p:nvPr>
            <p:ph type="body" sz="quarter" idx="23" hasCustomPrompt="1"/>
          </p:nvPr>
        </p:nvSpPr>
        <p:spPr>
          <a:xfrm>
            <a:off x="4360038" y="4013778"/>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
        <p:nvSpPr>
          <p:cNvPr id="21" name="Text Placeholder 16">
            <a:extLst>
              <a:ext uri="{FF2B5EF4-FFF2-40B4-BE49-F238E27FC236}">
                <a16:creationId xmlns:a16="http://schemas.microsoft.com/office/drawing/2014/main" id="{B25FF5F5-24ED-A1F5-BAF6-695A3AC8B846}"/>
              </a:ext>
            </a:extLst>
          </p:cNvPr>
          <p:cNvSpPr>
            <a:spLocks noGrp="1"/>
          </p:cNvSpPr>
          <p:nvPr>
            <p:ph type="body" sz="quarter" idx="24" hasCustomPrompt="1"/>
          </p:nvPr>
        </p:nvSpPr>
        <p:spPr>
          <a:xfrm>
            <a:off x="4360038" y="3182781"/>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
        <p:nvSpPr>
          <p:cNvPr id="22" name="Text Placeholder 16">
            <a:extLst>
              <a:ext uri="{FF2B5EF4-FFF2-40B4-BE49-F238E27FC236}">
                <a16:creationId xmlns:a16="http://schemas.microsoft.com/office/drawing/2014/main" id="{C290B6B5-AE82-E5CD-A766-8EB884962D57}"/>
              </a:ext>
            </a:extLst>
          </p:cNvPr>
          <p:cNvSpPr>
            <a:spLocks noGrp="1"/>
          </p:cNvSpPr>
          <p:nvPr>
            <p:ph type="body" sz="quarter" idx="25" hasCustomPrompt="1"/>
          </p:nvPr>
        </p:nvSpPr>
        <p:spPr>
          <a:xfrm>
            <a:off x="4360038" y="2351784"/>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
        <p:nvSpPr>
          <p:cNvPr id="23" name="Text Placeholder 16">
            <a:extLst>
              <a:ext uri="{FF2B5EF4-FFF2-40B4-BE49-F238E27FC236}">
                <a16:creationId xmlns:a16="http://schemas.microsoft.com/office/drawing/2014/main" id="{4E8A8BDD-F1AB-2556-6DC3-982CC4C080AC}"/>
              </a:ext>
            </a:extLst>
          </p:cNvPr>
          <p:cNvSpPr>
            <a:spLocks noGrp="1"/>
          </p:cNvSpPr>
          <p:nvPr>
            <p:ph type="body" sz="quarter" idx="26" hasCustomPrompt="1"/>
          </p:nvPr>
        </p:nvSpPr>
        <p:spPr>
          <a:xfrm>
            <a:off x="4360038" y="1520787"/>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Tree>
    <p:extLst>
      <p:ext uri="{BB962C8B-B14F-4D97-AF65-F5344CB8AC3E}">
        <p14:creationId xmlns:p14="http://schemas.microsoft.com/office/powerpoint/2010/main" val="4041781052"/>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Agenda_3">
    <p:spTree>
      <p:nvGrpSpPr>
        <p:cNvPr id="1" name=""/>
        <p:cNvGrpSpPr/>
        <p:nvPr/>
      </p:nvGrpSpPr>
      <p:grpSpPr>
        <a:xfrm>
          <a:off x="0" y="0"/>
          <a:ext cx="0" cy="0"/>
          <a:chOff x="0" y="0"/>
          <a:chExt cx="0" cy="0"/>
        </a:xfrm>
      </p:grpSpPr>
      <p:sp>
        <p:nvSpPr>
          <p:cNvPr id="2" name="Graphic 28">
            <a:extLst>
              <a:ext uri="{FF2B5EF4-FFF2-40B4-BE49-F238E27FC236}">
                <a16:creationId xmlns:a16="http://schemas.microsoft.com/office/drawing/2014/main" id="{4771557B-18CC-F252-5834-240E2A0227D4}"/>
              </a:ext>
            </a:extLst>
          </p:cNvPr>
          <p:cNvSpPr/>
          <p:nvPr userDrawn="1"/>
        </p:nvSpPr>
        <p:spPr>
          <a:xfrm>
            <a:off x="0" y="0"/>
            <a:ext cx="3904861" cy="6858000"/>
          </a:xfrm>
          <a:custGeom>
            <a:avLst/>
            <a:gdLst>
              <a:gd name="connsiteX0" fmla="*/ 3904862 w 3904861"/>
              <a:gd name="connsiteY0" fmla="*/ 679247 h 6858000"/>
              <a:gd name="connsiteX1" fmla="*/ 3904862 w 3904861"/>
              <a:gd name="connsiteY1" fmla="*/ 6142236 h 6858000"/>
              <a:gd name="connsiteX2" fmla="*/ 3708346 w 3904861"/>
              <a:gd name="connsiteY2" fmla="*/ 6338815 h 6858000"/>
              <a:gd name="connsiteX3" fmla="*/ 466001 w 3904861"/>
              <a:gd name="connsiteY3" fmla="*/ 6338815 h 6858000"/>
              <a:gd name="connsiteX4" fmla="*/ 125136 w 3904861"/>
              <a:gd name="connsiteY4" fmla="*/ 6679616 h 6858000"/>
              <a:gd name="connsiteX5" fmla="*/ 125136 w 3904861"/>
              <a:gd name="connsiteY5" fmla="*/ 6858000 h 6858000"/>
              <a:gd name="connsiteX6" fmla="*/ 0 w 3904861"/>
              <a:gd name="connsiteY6" fmla="*/ 6858000 h 6858000"/>
              <a:gd name="connsiteX7" fmla="*/ 0 w 3904861"/>
              <a:gd name="connsiteY7" fmla="*/ 0 h 6858000"/>
              <a:gd name="connsiteX8" fmla="*/ 125136 w 3904861"/>
              <a:gd name="connsiteY8" fmla="*/ 0 h 6858000"/>
              <a:gd name="connsiteX9" fmla="*/ 125136 w 3904861"/>
              <a:gd name="connsiteY9" fmla="*/ 141868 h 6858000"/>
              <a:gd name="connsiteX10" fmla="*/ 466001 w 3904861"/>
              <a:gd name="connsiteY10" fmla="*/ 482668 h 6858000"/>
              <a:gd name="connsiteX11" fmla="*/ 3708346 w 3904861"/>
              <a:gd name="connsiteY11" fmla="*/ 482668 h 6858000"/>
              <a:gd name="connsiteX12" fmla="*/ 3904862 w 3904861"/>
              <a:gd name="connsiteY12" fmla="*/ 6792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4861" h="6858000">
                <a:moveTo>
                  <a:pt x="3904862" y="679247"/>
                </a:moveTo>
                <a:lnTo>
                  <a:pt x="3904862" y="6142236"/>
                </a:lnTo>
                <a:cubicBezTo>
                  <a:pt x="3904862" y="6250768"/>
                  <a:pt x="3816878" y="6338815"/>
                  <a:pt x="3708346" y="6338815"/>
                </a:cubicBezTo>
                <a:lnTo>
                  <a:pt x="466001" y="6338815"/>
                </a:lnTo>
                <a:cubicBezTo>
                  <a:pt x="277755" y="6338815"/>
                  <a:pt x="125136" y="6491371"/>
                  <a:pt x="125136" y="6679616"/>
                </a:cubicBezTo>
                <a:lnTo>
                  <a:pt x="125136" y="6858000"/>
                </a:lnTo>
                <a:lnTo>
                  <a:pt x="0" y="6858000"/>
                </a:lnTo>
                <a:lnTo>
                  <a:pt x="0" y="0"/>
                </a:lnTo>
                <a:lnTo>
                  <a:pt x="125136" y="0"/>
                </a:lnTo>
                <a:lnTo>
                  <a:pt x="125136" y="141868"/>
                </a:lnTo>
                <a:cubicBezTo>
                  <a:pt x="125136" y="330113"/>
                  <a:pt x="277755" y="482668"/>
                  <a:pt x="466001" y="482668"/>
                </a:cubicBezTo>
                <a:lnTo>
                  <a:pt x="3708346" y="482668"/>
                </a:lnTo>
                <a:cubicBezTo>
                  <a:pt x="3816878" y="482668"/>
                  <a:pt x="3904862" y="570715"/>
                  <a:pt x="3904862" y="679247"/>
                </a:cubicBezTo>
                <a:close/>
              </a:path>
            </a:pathLst>
          </a:cu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3">
                <a:alpha val="15000"/>
              </a:schemeClr>
            </a:outerShdw>
          </a:effectLst>
        </p:spPr>
        <p:txBody>
          <a:bodyPr rtlCol="0" anchor="ctr"/>
          <a:lstStyle/>
          <a:p>
            <a:endParaRPr lang="en-GB"/>
          </a:p>
        </p:txBody>
      </p:sp>
      <p:pic>
        <p:nvPicPr>
          <p:cNvPr id="5" name="Graphic 4">
            <a:extLst>
              <a:ext uri="{FF2B5EF4-FFF2-40B4-BE49-F238E27FC236}">
                <a16:creationId xmlns:a16="http://schemas.microsoft.com/office/drawing/2014/main" id="{D85F8354-0066-19BE-0974-A2A7C80DA71B}"/>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65130" t="9459" r="7061" b="9459"/>
          <a:stretch/>
        </p:blipFill>
        <p:spPr>
          <a:xfrm>
            <a:off x="556804" y="666750"/>
            <a:ext cx="3180354" cy="5524500"/>
          </a:xfrm>
          <a:prstGeom prst="roundRect">
            <a:avLst>
              <a:gd name="adj" fmla="val 3090"/>
            </a:avLst>
          </a:prstGeom>
        </p:spPr>
      </p:pic>
      <p:pic>
        <p:nvPicPr>
          <p:cNvPr id="8" name="Picture 7" descr="A screenshot of a cell phone&#10;&#10;AI-generated content may be incorrect.">
            <a:extLst>
              <a:ext uri="{FF2B5EF4-FFF2-40B4-BE49-F238E27FC236}">
                <a16:creationId xmlns:a16="http://schemas.microsoft.com/office/drawing/2014/main" id="{9094B8BC-9B9E-C78E-EAEF-7046979994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3866" y="2379592"/>
            <a:ext cx="994248" cy="1219306"/>
          </a:xfrm>
          <a:prstGeom prst="rect">
            <a:avLst/>
          </a:prstGeom>
        </p:spPr>
      </p:pic>
      <p:sp>
        <p:nvSpPr>
          <p:cNvPr id="11" name="Text Placeholder 33">
            <a:extLst>
              <a:ext uri="{FF2B5EF4-FFF2-40B4-BE49-F238E27FC236}">
                <a16:creationId xmlns:a16="http://schemas.microsoft.com/office/drawing/2014/main" id="{5EF63884-A470-8A28-9FAE-EEEE1042D5DD}"/>
              </a:ext>
            </a:extLst>
          </p:cNvPr>
          <p:cNvSpPr>
            <a:spLocks noGrp="1"/>
          </p:cNvSpPr>
          <p:nvPr>
            <p:ph type="body" sz="quarter" idx="11" hasCustomPrompt="1"/>
          </p:nvPr>
        </p:nvSpPr>
        <p:spPr>
          <a:xfrm>
            <a:off x="831387" y="4032531"/>
            <a:ext cx="2511708" cy="707886"/>
          </a:xfrm>
        </p:spPr>
        <p:txBody>
          <a:bodyPr/>
          <a:lstStyle>
            <a:lvl1pPr marL="0" indent="0" algn="ctr" defTabSz="914400" rtl="0" eaLnBrk="1" latinLnBrk="0" hangingPunct="1">
              <a:buNone/>
              <a:defRPr lang="en-GB" sz="4600" b="0" i="0" kern="1200" dirty="0">
                <a:solidFill>
                  <a:schemeClr val="bg1"/>
                </a:solidFill>
                <a:latin typeface="+mj-lt"/>
                <a:ea typeface="+mn-ea"/>
                <a:cs typeface="Segoe Sans Text Semibold" pitchFamily="2" charset="0"/>
              </a:defRPr>
            </a:lvl1pPr>
            <a:lvl2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2pPr>
            <a:lvl3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3pPr>
            <a:lvl4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4pPr>
            <a:lvl5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5pPr>
          </a:lstStyle>
          <a:p>
            <a:pPr lvl="0"/>
            <a:r>
              <a:rPr lang="en-GB"/>
              <a:t>AGENDA</a:t>
            </a:r>
          </a:p>
        </p:txBody>
      </p:sp>
      <p:sp>
        <p:nvSpPr>
          <p:cNvPr id="3" name="Text Placeholder 3">
            <a:extLst>
              <a:ext uri="{FF2B5EF4-FFF2-40B4-BE49-F238E27FC236}">
                <a16:creationId xmlns:a16="http://schemas.microsoft.com/office/drawing/2014/main" id="{D0E3292A-BAED-249F-828C-53EA7C01C54D}"/>
              </a:ext>
            </a:extLst>
          </p:cNvPr>
          <p:cNvSpPr>
            <a:spLocks noGrp="1"/>
          </p:cNvSpPr>
          <p:nvPr>
            <p:ph type="body" sz="quarter" idx="15" hasCustomPrompt="1"/>
          </p:nvPr>
        </p:nvSpPr>
        <p:spPr>
          <a:xfrm>
            <a:off x="5391150" y="1678445"/>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4" name="Text Placeholder 3">
            <a:extLst>
              <a:ext uri="{FF2B5EF4-FFF2-40B4-BE49-F238E27FC236}">
                <a16:creationId xmlns:a16="http://schemas.microsoft.com/office/drawing/2014/main" id="{A260BE92-1E75-ED93-076E-CF75DA807FD7}"/>
              </a:ext>
            </a:extLst>
          </p:cNvPr>
          <p:cNvSpPr>
            <a:spLocks noGrp="1"/>
          </p:cNvSpPr>
          <p:nvPr>
            <p:ph type="body" sz="quarter" idx="18" hasCustomPrompt="1"/>
          </p:nvPr>
        </p:nvSpPr>
        <p:spPr>
          <a:xfrm>
            <a:off x="5391150" y="4925083"/>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6" name="Text Placeholder 3">
            <a:extLst>
              <a:ext uri="{FF2B5EF4-FFF2-40B4-BE49-F238E27FC236}">
                <a16:creationId xmlns:a16="http://schemas.microsoft.com/office/drawing/2014/main" id="{AB6C0581-FF6A-6E8A-F00D-AE66DD459FB4}"/>
              </a:ext>
            </a:extLst>
          </p:cNvPr>
          <p:cNvSpPr>
            <a:spLocks noGrp="1"/>
          </p:cNvSpPr>
          <p:nvPr>
            <p:ph type="body" sz="quarter" idx="19" hasCustomPrompt="1"/>
          </p:nvPr>
        </p:nvSpPr>
        <p:spPr>
          <a:xfrm>
            <a:off x="5391150" y="3301764"/>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10" name="Text Placeholder 16">
            <a:extLst>
              <a:ext uri="{FF2B5EF4-FFF2-40B4-BE49-F238E27FC236}">
                <a16:creationId xmlns:a16="http://schemas.microsoft.com/office/drawing/2014/main" id="{AB0906F9-3593-BD6A-1303-AB6990B1482A}"/>
              </a:ext>
            </a:extLst>
          </p:cNvPr>
          <p:cNvSpPr>
            <a:spLocks noGrp="1"/>
          </p:cNvSpPr>
          <p:nvPr>
            <p:ph type="body" sz="quarter" idx="20" hasCustomPrompt="1"/>
          </p:nvPr>
        </p:nvSpPr>
        <p:spPr>
          <a:xfrm>
            <a:off x="4360038" y="1616890"/>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
        <p:nvSpPr>
          <p:cNvPr id="12" name="Text Placeholder 16">
            <a:extLst>
              <a:ext uri="{FF2B5EF4-FFF2-40B4-BE49-F238E27FC236}">
                <a16:creationId xmlns:a16="http://schemas.microsoft.com/office/drawing/2014/main" id="{BB32D91C-87FF-9570-67C1-49A4608F167A}"/>
              </a:ext>
            </a:extLst>
          </p:cNvPr>
          <p:cNvSpPr>
            <a:spLocks noGrp="1"/>
          </p:cNvSpPr>
          <p:nvPr>
            <p:ph type="body" sz="quarter" idx="25" hasCustomPrompt="1"/>
          </p:nvPr>
        </p:nvSpPr>
        <p:spPr>
          <a:xfrm>
            <a:off x="4360038" y="4863528"/>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
        <p:nvSpPr>
          <p:cNvPr id="13" name="Text Placeholder 16">
            <a:extLst>
              <a:ext uri="{FF2B5EF4-FFF2-40B4-BE49-F238E27FC236}">
                <a16:creationId xmlns:a16="http://schemas.microsoft.com/office/drawing/2014/main" id="{DCA72C1E-B0C3-A8A2-29D9-AF1FF4666C92}"/>
              </a:ext>
            </a:extLst>
          </p:cNvPr>
          <p:cNvSpPr>
            <a:spLocks noGrp="1"/>
          </p:cNvSpPr>
          <p:nvPr>
            <p:ph type="body" sz="quarter" idx="26" hasCustomPrompt="1"/>
          </p:nvPr>
        </p:nvSpPr>
        <p:spPr>
          <a:xfrm>
            <a:off x="4360038" y="3240209"/>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Tree>
    <p:extLst>
      <p:ext uri="{BB962C8B-B14F-4D97-AF65-F5344CB8AC3E}">
        <p14:creationId xmlns:p14="http://schemas.microsoft.com/office/powerpoint/2010/main" val="2700887438"/>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with topics">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C2A61A0E-6969-BC83-3D35-C116072CD2EB}"/>
              </a:ext>
            </a:extLst>
          </p:cNvPr>
          <p:cNvPicPr>
            <a:picLocks noChangeAspect="1"/>
          </p:cNvPicPr>
          <p:nvPr userDrawn="1"/>
        </p:nvPicPr>
        <p:blipFill rotWithShape="1">
          <a:blip>
            <a:alphaModFix amt="40000"/>
            <a:extLst>
              <a:ext uri="{96DAC541-7B7A-43D3-8B79-37D633B846F1}">
                <asvg:svgBlip xmlns:asvg="http://schemas.microsoft.com/office/drawing/2016/SVG/main" r:embed="rId2"/>
              </a:ext>
            </a:extLst>
          </a:blip>
          <a:srcRect l="6728" t="15844" r="2559" b="24788"/>
          <a:stretch/>
        </p:blipFill>
        <p:spPr>
          <a:xfrm flipV="1">
            <a:off x="5133040" y="0"/>
            <a:ext cx="7023101" cy="2686336"/>
          </a:xfrm>
          <a:prstGeom prst="rect">
            <a:avLst/>
          </a:prstGeom>
        </p:spPr>
      </p:pic>
      <p:cxnSp>
        <p:nvCxnSpPr>
          <p:cNvPr id="3" name="Straight Connector 2">
            <a:extLst>
              <a:ext uri="{FF2B5EF4-FFF2-40B4-BE49-F238E27FC236}">
                <a16:creationId xmlns:a16="http://schemas.microsoft.com/office/drawing/2014/main" id="{828F9EE3-021E-CE97-4B76-F1844CA58D46}"/>
              </a:ext>
            </a:extLst>
          </p:cNvPr>
          <p:cNvCxnSpPr>
            <a:cxnSpLocks/>
          </p:cNvCxnSpPr>
          <p:nvPr userDrawn="1"/>
        </p:nvCxnSpPr>
        <p:spPr>
          <a:xfrm>
            <a:off x="0" y="464618"/>
            <a:ext cx="12192000" cy="0"/>
          </a:xfrm>
          <a:prstGeom prst="line">
            <a:avLst/>
          </a:prstGeom>
          <a:ln w="3175">
            <a:gradFill flip="none" rotWithShape="1">
              <a:gsLst>
                <a:gs pos="55000">
                  <a:schemeClr val="bg1"/>
                </a:gs>
                <a:gs pos="100000">
                  <a:schemeClr val="accent6"/>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E9F94A7E-E7EE-A8EB-5875-00B7933042EA}"/>
              </a:ext>
            </a:extLst>
          </p:cNvPr>
          <p:cNvCxnSpPr>
            <a:cxnSpLocks/>
          </p:cNvCxnSpPr>
          <p:nvPr userDrawn="1"/>
        </p:nvCxnSpPr>
        <p:spPr>
          <a:xfrm flipH="1">
            <a:off x="11822685" y="0"/>
            <a:ext cx="0" cy="5834743"/>
          </a:xfrm>
          <a:prstGeom prst="line">
            <a:avLst/>
          </a:prstGeom>
          <a:ln w="3175">
            <a:gradFill flip="none" rotWithShape="1">
              <a:gsLst>
                <a:gs pos="14000">
                  <a:schemeClr val="bg1"/>
                </a:gs>
                <a:gs pos="100000">
                  <a:schemeClr val="accent6"/>
                </a:gs>
              </a:gsLst>
              <a:lin ang="162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AB1CA443-490D-EFBE-3D95-7DA7BD1CDCAC}"/>
              </a:ext>
            </a:extLst>
          </p:cNvPr>
          <p:cNvPicPr>
            <a:picLocks noChangeAspect="1"/>
          </p:cNvPicPr>
          <p:nvPr userDrawn="1"/>
        </p:nvPicPr>
        <p:blipFill rotWithShape="1">
          <a:blip>
            <a:extLst>
              <a:ext uri="{96DAC541-7B7A-43D3-8B79-37D633B846F1}">
                <asvg:svgBlip xmlns:asvg="http://schemas.microsoft.com/office/drawing/2016/SVG/main" r:embed="rId3"/>
              </a:ext>
            </a:extLst>
          </a:blip>
          <a:srcRect l="27355" t="20080" r="4737" b="20080"/>
          <a:stretch/>
        </p:blipFill>
        <p:spPr>
          <a:xfrm>
            <a:off x="1" y="457200"/>
            <a:ext cx="12192000" cy="6400801"/>
          </a:xfrm>
          <a:custGeom>
            <a:avLst/>
            <a:gdLst>
              <a:gd name="connsiteX0" fmla="*/ 633455 w 12192000"/>
              <a:gd name="connsiteY0" fmla="*/ 0 h 6400801"/>
              <a:gd name="connsiteX1" fmla="*/ 4157511 w 12192000"/>
              <a:gd name="connsiteY1" fmla="*/ 0 h 6400801"/>
              <a:gd name="connsiteX2" fmla="*/ 4427483 w 12192000"/>
              <a:gd name="connsiteY2" fmla="*/ 269972 h 6400801"/>
              <a:gd name="connsiteX3" fmla="*/ 4427483 w 12192000"/>
              <a:gd name="connsiteY3" fmla="*/ 5784904 h 6400801"/>
              <a:gd name="connsiteX4" fmla="*/ 4751279 w 12192000"/>
              <a:gd name="connsiteY4" fmla="*/ 6108700 h 6400801"/>
              <a:gd name="connsiteX5" fmla="*/ 12192000 w 12192000"/>
              <a:gd name="connsiteY5" fmla="*/ 6108700 h 6400801"/>
              <a:gd name="connsiteX6" fmla="*/ 12192000 w 12192000"/>
              <a:gd name="connsiteY6" fmla="*/ 6400800 h 6400801"/>
              <a:gd name="connsiteX7" fmla="*/ 4427483 w 12192000"/>
              <a:gd name="connsiteY7" fmla="*/ 6400800 h 6400801"/>
              <a:gd name="connsiteX8" fmla="*/ 4427483 w 12192000"/>
              <a:gd name="connsiteY8" fmla="*/ 6400801 h 6400801"/>
              <a:gd name="connsiteX9" fmla="*/ 363483 w 12192000"/>
              <a:gd name="connsiteY9" fmla="*/ 6400801 h 6400801"/>
              <a:gd name="connsiteX10" fmla="*/ 363483 w 12192000"/>
              <a:gd name="connsiteY10" fmla="*/ 6400800 h 6400801"/>
              <a:gd name="connsiteX11" fmla="*/ 0 w 12192000"/>
              <a:gd name="connsiteY11" fmla="*/ 6400800 h 6400801"/>
              <a:gd name="connsiteX12" fmla="*/ 0 w 12192000"/>
              <a:gd name="connsiteY12" fmla="*/ 6108700 h 6400801"/>
              <a:gd name="connsiteX13" fmla="*/ 39687 w 12192000"/>
              <a:gd name="connsiteY13" fmla="*/ 6108700 h 6400801"/>
              <a:gd name="connsiteX14" fmla="*/ 363483 w 12192000"/>
              <a:gd name="connsiteY14" fmla="*/ 5784904 h 6400801"/>
              <a:gd name="connsiteX15" fmla="*/ 363483 w 12192000"/>
              <a:gd name="connsiteY15" fmla="*/ 5650883 h 6400801"/>
              <a:gd name="connsiteX16" fmla="*/ 363483 w 12192000"/>
              <a:gd name="connsiteY16" fmla="*/ 5650883 h 6400801"/>
              <a:gd name="connsiteX17" fmla="*/ 363483 w 12192000"/>
              <a:gd name="connsiteY17" fmla="*/ 269972 h 6400801"/>
              <a:gd name="connsiteX18" fmla="*/ 633455 w 12192000"/>
              <a:gd name="connsiteY18" fmla="*/ 0 h 640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0" h="6400801">
                <a:moveTo>
                  <a:pt x="633455" y="0"/>
                </a:moveTo>
                <a:lnTo>
                  <a:pt x="4157511" y="0"/>
                </a:lnTo>
                <a:cubicBezTo>
                  <a:pt x="4306612" y="0"/>
                  <a:pt x="4427483" y="120871"/>
                  <a:pt x="4427483" y="269972"/>
                </a:cubicBezTo>
                <a:lnTo>
                  <a:pt x="4427483" y="5784904"/>
                </a:lnTo>
                <a:cubicBezTo>
                  <a:pt x="4427483" y="5963732"/>
                  <a:pt x="4572451" y="6108700"/>
                  <a:pt x="4751279" y="6108700"/>
                </a:cubicBezTo>
                <a:lnTo>
                  <a:pt x="12192000" y="6108700"/>
                </a:lnTo>
                <a:lnTo>
                  <a:pt x="12192000" y="6400800"/>
                </a:lnTo>
                <a:lnTo>
                  <a:pt x="4427483" y="6400800"/>
                </a:lnTo>
                <a:lnTo>
                  <a:pt x="4427483" y="6400801"/>
                </a:lnTo>
                <a:lnTo>
                  <a:pt x="363483" y="6400801"/>
                </a:lnTo>
                <a:lnTo>
                  <a:pt x="363483" y="6400800"/>
                </a:lnTo>
                <a:lnTo>
                  <a:pt x="0" y="6400800"/>
                </a:lnTo>
                <a:lnTo>
                  <a:pt x="0" y="6108700"/>
                </a:lnTo>
                <a:lnTo>
                  <a:pt x="39687" y="6108700"/>
                </a:lnTo>
                <a:cubicBezTo>
                  <a:pt x="218515" y="6108700"/>
                  <a:pt x="363483" y="5963732"/>
                  <a:pt x="363483" y="5784904"/>
                </a:cubicBezTo>
                <a:lnTo>
                  <a:pt x="363483" y="5650883"/>
                </a:lnTo>
                <a:lnTo>
                  <a:pt x="363483" y="5650883"/>
                </a:lnTo>
                <a:lnTo>
                  <a:pt x="363483" y="269972"/>
                </a:lnTo>
                <a:cubicBezTo>
                  <a:pt x="363483" y="120871"/>
                  <a:pt x="484354" y="0"/>
                  <a:pt x="633455" y="0"/>
                </a:cubicBezTo>
                <a:close/>
              </a:path>
            </a:pathLst>
          </a:custGeom>
          <a:effectLst>
            <a:outerShdw blurRad="368300" dist="25400" dir="2700000" algn="ctr" rotWithShape="0">
              <a:schemeClr val="accent3">
                <a:alpha val="15000"/>
              </a:schemeClr>
            </a:outerShdw>
          </a:effectLst>
        </p:spPr>
      </p:pic>
      <p:sp>
        <p:nvSpPr>
          <p:cNvPr id="6" name="Rectangle: Top Corners Rounded 5">
            <a:extLst>
              <a:ext uri="{FF2B5EF4-FFF2-40B4-BE49-F238E27FC236}">
                <a16:creationId xmlns:a16="http://schemas.microsoft.com/office/drawing/2014/main" id="{F5A0D1EC-2A5D-B133-CA4A-C2054FE8AE97}"/>
              </a:ext>
            </a:extLst>
          </p:cNvPr>
          <p:cNvSpPr/>
          <p:nvPr userDrawn="1"/>
        </p:nvSpPr>
        <p:spPr bwMode="auto">
          <a:xfrm>
            <a:off x="584200" y="677915"/>
            <a:ext cx="3622570" cy="6180085"/>
          </a:xfrm>
          <a:prstGeom prst="round2SameRect">
            <a:avLst>
              <a:gd name="adj1" fmla="val 4590"/>
              <a:gd name="adj2" fmla="val 0"/>
            </a:avLst>
          </a:prstGeom>
          <a:solidFill>
            <a:schemeClr val="accent3">
              <a:lumMod val="20000"/>
              <a:lumOff val="80000"/>
              <a:alpha val="19000"/>
            </a:schemeClr>
          </a:solidFill>
          <a:ln>
            <a:noFill/>
            <a:headEnd type="none" w="med" len="med"/>
            <a:tailEnd type="none" w="med" len="med"/>
          </a:ln>
          <a:effectLst>
            <a:innerShdw blurRad="304800">
              <a:schemeClr val="accent1">
                <a:alpha val="15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8" name="Rectangle: Rounded Corners 7">
            <a:extLst>
              <a:ext uri="{FF2B5EF4-FFF2-40B4-BE49-F238E27FC236}">
                <a16:creationId xmlns:a16="http://schemas.microsoft.com/office/drawing/2014/main" id="{329FF6E5-6C80-E2EB-97ED-7E2DE8CBDA84}"/>
              </a:ext>
            </a:extLst>
          </p:cNvPr>
          <p:cNvSpPr/>
          <p:nvPr userDrawn="1"/>
        </p:nvSpPr>
        <p:spPr bwMode="auto">
          <a:xfrm>
            <a:off x="4641056" y="677915"/>
            <a:ext cx="6968332" cy="5674713"/>
          </a:xfrm>
          <a:prstGeom prst="roundRect">
            <a:avLst>
              <a:gd name="adj" fmla="val 3098"/>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3">
                <a:alpha val="15000"/>
              </a:schemeClr>
            </a:outerShdw>
          </a:effectLst>
        </p:spPr>
        <p:txBody>
          <a:bodyPr wrap="square" rtlCol="0" anchor="ctr">
            <a:noAutofit/>
          </a:bodyPr>
          <a:lstStyle/>
          <a:p>
            <a:endParaRPr lang="en-IN" err="1">
              <a:solidFill>
                <a:srgbClr val="000000"/>
              </a:solidFill>
              <a:latin typeface="Segoe Sans Text"/>
            </a:endParaRPr>
          </a:p>
        </p:txBody>
      </p:sp>
      <p:sp>
        <p:nvSpPr>
          <p:cNvPr id="10" name="Rectangle: Rounded Corners 9">
            <a:extLst>
              <a:ext uri="{FF2B5EF4-FFF2-40B4-BE49-F238E27FC236}">
                <a16:creationId xmlns:a16="http://schemas.microsoft.com/office/drawing/2014/main" id="{01DA845B-5FD8-3C7D-94F8-1DDD9EEC24D3}"/>
              </a:ext>
            </a:extLst>
          </p:cNvPr>
          <p:cNvSpPr/>
          <p:nvPr userDrawn="1"/>
        </p:nvSpPr>
        <p:spPr bwMode="auto">
          <a:xfrm rot="5400000">
            <a:off x="-1300560" y="3997035"/>
            <a:ext cx="4325648" cy="178092"/>
          </a:xfrm>
          <a:prstGeom prst="roundRect">
            <a:avLst>
              <a:gd name="adj" fmla="val 50000"/>
            </a:avLst>
          </a:prstGeom>
          <a:solidFill>
            <a:schemeClr val="accent3">
              <a:lumMod val="40000"/>
              <a:lumOff val="60000"/>
            </a:schemeClr>
          </a:solidFill>
          <a:ln>
            <a:noFill/>
            <a:headEnd type="none" w="med" len="med"/>
            <a:tailEnd type="none" w="med" len="med"/>
          </a:ln>
          <a:effectLst>
            <a:innerShdw blurRad="38100">
              <a:prstClr val="black">
                <a:alpha val="4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Rectangle: Rounded Corners 16">
            <a:extLst>
              <a:ext uri="{FF2B5EF4-FFF2-40B4-BE49-F238E27FC236}">
                <a16:creationId xmlns:a16="http://schemas.microsoft.com/office/drawing/2014/main" id="{FF8944B9-8D1E-7295-BBC0-C7D13198A211}"/>
              </a:ext>
            </a:extLst>
          </p:cNvPr>
          <p:cNvSpPr>
            <a:spLocks noChangeAspect="1"/>
          </p:cNvSpPr>
          <p:nvPr userDrawn="1"/>
        </p:nvSpPr>
        <p:spPr>
          <a:xfrm>
            <a:off x="4879102" y="1449241"/>
            <a:ext cx="6492240" cy="32540"/>
          </a:xfrm>
          <a:prstGeom prst="roundRect">
            <a:avLst>
              <a:gd name="adj" fmla="val 50000"/>
            </a:avLst>
          </a:prstGeom>
          <a:gradFill flip="none" rotWithShape="1">
            <a:gsLst>
              <a:gs pos="27000">
                <a:schemeClr val="accent3"/>
              </a:gs>
              <a:gs pos="0">
                <a:schemeClr val="accent3"/>
              </a:gs>
              <a:gs pos="100000">
                <a:srgbClr val="50E6FF">
                  <a:lumMod val="89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a:solidFill>
                <a:srgbClr val="FFFFFF"/>
              </a:solidFill>
              <a:cs typeface="Segoe UI" pitchFamily="34" charset="0"/>
            </a:endParaRPr>
          </a:p>
        </p:txBody>
      </p:sp>
      <p:sp>
        <p:nvSpPr>
          <p:cNvPr id="26" name="Text Placeholder 43 - 1">
            <a:extLst>
              <a:ext uri="{FF2B5EF4-FFF2-40B4-BE49-F238E27FC236}">
                <a16:creationId xmlns:a16="http://schemas.microsoft.com/office/drawing/2014/main" id="{2C5830BB-E5DA-2D2A-2C46-3FA736F7F432}"/>
              </a:ext>
            </a:extLst>
          </p:cNvPr>
          <p:cNvSpPr>
            <a:spLocks noGrp="1"/>
          </p:cNvSpPr>
          <p:nvPr>
            <p:ph type="body" sz="quarter" idx="18" hasCustomPrompt="1"/>
          </p:nvPr>
        </p:nvSpPr>
        <p:spPr>
          <a:xfrm>
            <a:off x="4879102" y="1600168"/>
            <a:ext cx="6492240" cy="738664"/>
          </a:xfrm>
        </p:spPr>
        <p:txBody>
          <a:bodyPr wrap="square" anchor="t">
            <a:noAutofit/>
          </a:bodyPr>
          <a:lstStyle>
            <a:lvl1pPr marL="0" indent="0" algn="l">
              <a:spcBef>
                <a:spcPts val="600"/>
              </a:spcBef>
              <a:buNone/>
              <a:defRPr sz="1600" b="0">
                <a:solidFill>
                  <a:schemeClr val="tx1"/>
                </a:solidFill>
                <a:latin typeface="+mn-lt"/>
              </a:defRPr>
            </a:lvl1pPr>
            <a:lvl2pPr marL="344488" indent="-222250" algn="l">
              <a:spcBef>
                <a:spcPts val="300"/>
              </a:spcBef>
              <a:spcAft>
                <a:spcPts val="300"/>
              </a:spcAft>
              <a:buFont typeface="Arial" panose="020B0604020202020204" pitchFamily="34" charset="0"/>
              <a:buChar char="•"/>
              <a:tabLst/>
              <a:defRPr sz="1400">
                <a:solidFill>
                  <a:schemeClr val="tx1"/>
                </a:solidFill>
                <a:latin typeface="+mn-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a:p>
            <a:pPr lvl="1"/>
            <a:r>
              <a:rPr lang="en-US"/>
              <a:t>Second line</a:t>
            </a:r>
          </a:p>
        </p:txBody>
      </p:sp>
      <p:sp>
        <p:nvSpPr>
          <p:cNvPr id="20" name="Text Placeholder 43">
            <a:extLst>
              <a:ext uri="{FF2B5EF4-FFF2-40B4-BE49-F238E27FC236}">
                <a16:creationId xmlns:a16="http://schemas.microsoft.com/office/drawing/2014/main" id="{A44A9BC9-164F-8630-CD9D-E9FD1197EF51}"/>
              </a:ext>
            </a:extLst>
          </p:cNvPr>
          <p:cNvSpPr>
            <a:spLocks noGrp="1"/>
          </p:cNvSpPr>
          <p:nvPr>
            <p:ph type="body" sz="quarter" idx="11" hasCustomPrompt="1"/>
          </p:nvPr>
        </p:nvSpPr>
        <p:spPr>
          <a:xfrm>
            <a:off x="951309" y="982735"/>
            <a:ext cx="3107133" cy="553998"/>
          </a:xfrm>
        </p:spPr>
        <p:txBody>
          <a:bodyPr wrap="square" anchor="ctr">
            <a:spAutoFit/>
          </a:bodyPr>
          <a:lstStyle>
            <a:lvl1pPr marL="0" indent="0" algn="l">
              <a:buNone/>
              <a:defRPr sz="3600" spc="0" baseline="0">
                <a:solidFill>
                  <a:schemeClr val="bg1"/>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Title</a:t>
            </a:r>
            <a:endParaRPr lang="en-IN"/>
          </a:p>
        </p:txBody>
      </p:sp>
      <p:sp>
        <p:nvSpPr>
          <p:cNvPr id="21" name="Text Placeholder 43 - 1">
            <a:extLst>
              <a:ext uri="{FF2B5EF4-FFF2-40B4-BE49-F238E27FC236}">
                <a16:creationId xmlns:a16="http://schemas.microsoft.com/office/drawing/2014/main" id="{208DDE9F-1228-472C-5750-AE120DD69083}"/>
              </a:ext>
            </a:extLst>
          </p:cNvPr>
          <p:cNvSpPr>
            <a:spLocks noGrp="1"/>
          </p:cNvSpPr>
          <p:nvPr>
            <p:ph type="body" sz="quarter" idx="12" hasCustomPrompt="1"/>
          </p:nvPr>
        </p:nvSpPr>
        <p:spPr>
          <a:xfrm>
            <a:off x="1116664" y="1881762"/>
            <a:ext cx="2941779" cy="307777"/>
          </a:xfrm>
        </p:spPr>
        <p:txBody>
          <a:bodyPr wrap="square" anchor="t">
            <a:spAutoFit/>
          </a:bodyPr>
          <a:lstStyle>
            <a:lvl1pPr marL="0" indent="0" algn="l">
              <a:buNone/>
              <a:defRPr sz="2000" b="0">
                <a:solidFill>
                  <a:schemeClr val="bg1"/>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22" name="Text Placeholder 43">
            <a:extLst>
              <a:ext uri="{FF2B5EF4-FFF2-40B4-BE49-F238E27FC236}">
                <a16:creationId xmlns:a16="http://schemas.microsoft.com/office/drawing/2014/main" id="{40F9632A-4B8F-AFB4-BB42-AA60B2E1C2CD}"/>
              </a:ext>
            </a:extLst>
          </p:cNvPr>
          <p:cNvSpPr>
            <a:spLocks noGrp="1"/>
          </p:cNvSpPr>
          <p:nvPr>
            <p:ph type="body" sz="quarter" idx="13" hasCustomPrompt="1"/>
          </p:nvPr>
        </p:nvSpPr>
        <p:spPr>
          <a:xfrm>
            <a:off x="1116664" y="2189539"/>
            <a:ext cx="2941779" cy="246221"/>
          </a:xfrm>
        </p:spPr>
        <p:txBody>
          <a:bodyPr wrap="square" anchor="t">
            <a:spAutoFit/>
          </a:bodyPr>
          <a:lstStyle>
            <a:lvl1pPr marL="0" indent="0" algn="l">
              <a:buNone/>
              <a:defRPr sz="1600" b="0">
                <a:solidFill>
                  <a:schemeClr val="bg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7" name="Text Placeholder 43 - 1">
            <a:extLst>
              <a:ext uri="{FF2B5EF4-FFF2-40B4-BE49-F238E27FC236}">
                <a16:creationId xmlns:a16="http://schemas.microsoft.com/office/drawing/2014/main" id="{DEB857B0-D661-41C9-2AA2-3EA3C2886D4C}"/>
              </a:ext>
            </a:extLst>
          </p:cNvPr>
          <p:cNvSpPr>
            <a:spLocks noGrp="1"/>
          </p:cNvSpPr>
          <p:nvPr>
            <p:ph type="body" sz="quarter" idx="14" hasCustomPrompt="1"/>
          </p:nvPr>
        </p:nvSpPr>
        <p:spPr>
          <a:xfrm>
            <a:off x="1116664" y="3128647"/>
            <a:ext cx="2941779" cy="307777"/>
          </a:xfrm>
        </p:spPr>
        <p:txBody>
          <a:bodyPr wrap="square" anchor="t">
            <a:spAutoFit/>
          </a:bodyPr>
          <a:lstStyle>
            <a:lvl1pPr marL="0" indent="0" algn="l">
              <a:buNone/>
              <a:defRPr sz="2000" b="0">
                <a:solidFill>
                  <a:schemeClr val="bg1"/>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23" name="Text Placeholder 43">
            <a:extLst>
              <a:ext uri="{FF2B5EF4-FFF2-40B4-BE49-F238E27FC236}">
                <a16:creationId xmlns:a16="http://schemas.microsoft.com/office/drawing/2014/main" id="{2A9A43B7-ADCA-9602-F234-84E6F7264EA1}"/>
              </a:ext>
            </a:extLst>
          </p:cNvPr>
          <p:cNvSpPr>
            <a:spLocks noGrp="1"/>
          </p:cNvSpPr>
          <p:nvPr>
            <p:ph type="body" sz="quarter" idx="15" hasCustomPrompt="1"/>
          </p:nvPr>
        </p:nvSpPr>
        <p:spPr>
          <a:xfrm>
            <a:off x="1116664" y="3436424"/>
            <a:ext cx="2941779" cy="246221"/>
          </a:xfrm>
        </p:spPr>
        <p:txBody>
          <a:bodyPr wrap="square" anchor="t">
            <a:spAutoFit/>
          </a:bodyPr>
          <a:lstStyle>
            <a:lvl1pPr marL="0" indent="0" algn="l">
              <a:buNone/>
              <a:defRPr sz="1600" b="0">
                <a:solidFill>
                  <a:schemeClr val="bg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24" name="Text Placeholder 43 - 1">
            <a:extLst>
              <a:ext uri="{FF2B5EF4-FFF2-40B4-BE49-F238E27FC236}">
                <a16:creationId xmlns:a16="http://schemas.microsoft.com/office/drawing/2014/main" id="{39FF0CEC-7386-87B6-3B76-AE3FF8889BCD}"/>
              </a:ext>
            </a:extLst>
          </p:cNvPr>
          <p:cNvSpPr>
            <a:spLocks noGrp="1"/>
          </p:cNvSpPr>
          <p:nvPr>
            <p:ph type="body" sz="quarter" idx="16" hasCustomPrompt="1"/>
          </p:nvPr>
        </p:nvSpPr>
        <p:spPr>
          <a:xfrm>
            <a:off x="1116664" y="4378056"/>
            <a:ext cx="2941779" cy="307777"/>
          </a:xfrm>
        </p:spPr>
        <p:txBody>
          <a:bodyPr wrap="square" anchor="t">
            <a:spAutoFit/>
          </a:bodyPr>
          <a:lstStyle>
            <a:lvl1pPr marL="0" indent="0" algn="l">
              <a:buNone/>
              <a:defRPr sz="2000" b="0">
                <a:solidFill>
                  <a:schemeClr val="bg1"/>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25" name="Text Placeholder 43">
            <a:extLst>
              <a:ext uri="{FF2B5EF4-FFF2-40B4-BE49-F238E27FC236}">
                <a16:creationId xmlns:a16="http://schemas.microsoft.com/office/drawing/2014/main" id="{272F92F9-97A2-AFC6-4015-666322C962A6}"/>
              </a:ext>
            </a:extLst>
          </p:cNvPr>
          <p:cNvSpPr>
            <a:spLocks noGrp="1"/>
          </p:cNvSpPr>
          <p:nvPr>
            <p:ph type="body" sz="quarter" idx="17" hasCustomPrompt="1"/>
          </p:nvPr>
        </p:nvSpPr>
        <p:spPr>
          <a:xfrm>
            <a:off x="1116664" y="4685833"/>
            <a:ext cx="2941779" cy="246221"/>
          </a:xfrm>
        </p:spPr>
        <p:txBody>
          <a:bodyPr wrap="square" anchor="t">
            <a:spAutoFit/>
          </a:bodyPr>
          <a:lstStyle>
            <a:lvl1pPr marL="0" indent="0" algn="l">
              <a:buNone/>
              <a:defRPr sz="1600" b="0">
                <a:solidFill>
                  <a:schemeClr val="bg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27" name="Text Placeholder 43 - 1">
            <a:extLst>
              <a:ext uri="{FF2B5EF4-FFF2-40B4-BE49-F238E27FC236}">
                <a16:creationId xmlns:a16="http://schemas.microsoft.com/office/drawing/2014/main" id="{C7552497-9BC4-1D33-6BEA-B14EEDFC2202}"/>
              </a:ext>
            </a:extLst>
          </p:cNvPr>
          <p:cNvSpPr>
            <a:spLocks noGrp="1"/>
          </p:cNvSpPr>
          <p:nvPr>
            <p:ph type="body" sz="quarter" idx="19" hasCustomPrompt="1"/>
          </p:nvPr>
        </p:nvSpPr>
        <p:spPr>
          <a:xfrm>
            <a:off x="5480525" y="926975"/>
            <a:ext cx="5890817" cy="276999"/>
          </a:xfrm>
        </p:spPr>
        <p:txBody>
          <a:bodyPr wrap="square" anchor="ctr">
            <a:spAutoFit/>
          </a:bodyPr>
          <a:lstStyle>
            <a:lvl1pPr marL="0" indent="0" algn="l">
              <a:buNone/>
              <a:defRPr sz="1800" b="1">
                <a:solidFill>
                  <a:schemeClr val="accent3"/>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Tree>
    <p:extLst>
      <p:ext uri="{BB962C8B-B14F-4D97-AF65-F5344CB8AC3E}">
        <p14:creationId xmlns:p14="http://schemas.microsoft.com/office/powerpoint/2010/main" val="118006735"/>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with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wrap="square" lIns="0" tIns="0" rIns="0" bIns="0" rtlCol="0" anchor="t">
            <a:spAutoFit/>
          </a:bodyPr>
          <a:lstStyle>
            <a:lvl1pPr>
              <a:defRPr lang="en-US" spc="0" baseline="0">
                <a:latin typeface="+mj-lt"/>
                <a:cs typeface="Segoe Sans Text" pitchFamily="2" charset="0"/>
              </a:defRPr>
            </a:lvl1pPr>
          </a:lstStyle>
          <a:p>
            <a:pPr lvl="0"/>
            <a:r>
              <a:rPr lang="en-US"/>
              <a:t>Click to edit Master title style</a:t>
            </a:r>
          </a:p>
        </p:txBody>
      </p:sp>
      <p:grpSp>
        <p:nvGrpSpPr>
          <p:cNvPr id="4" name="Group 3">
            <a:extLst>
              <a:ext uri="{FF2B5EF4-FFF2-40B4-BE49-F238E27FC236}">
                <a16:creationId xmlns:a16="http://schemas.microsoft.com/office/drawing/2014/main" id="{14E6A9AF-C03A-575F-3024-7B0BEF9C84A6}"/>
              </a:ext>
            </a:extLst>
          </p:cNvPr>
          <p:cNvGrpSpPr/>
          <p:nvPr userDrawn="1"/>
        </p:nvGrpSpPr>
        <p:grpSpPr>
          <a:xfrm rot="120000">
            <a:off x="384271" y="1281790"/>
            <a:ext cx="280402" cy="239696"/>
            <a:chOff x="4236063" y="2350592"/>
            <a:chExt cx="264770" cy="239696"/>
          </a:xfrm>
          <a:solidFill>
            <a:schemeClr val="accent2">
              <a:lumMod val="75000"/>
              <a:lumOff val="25000"/>
            </a:schemeClr>
          </a:solidFill>
        </p:grpSpPr>
        <p:sp>
          <p:nvSpPr>
            <p:cNvPr id="5" name="Freeform: Shape 4">
              <a:extLst>
                <a:ext uri="{FF2B5EF4-FFF2-40B4-BE49-F238E27FC236}">
                  <a16:creationId xmlns:a16="http://schemas.microsoft.com/office/drawing/2014/main" id="{287EC69B-25DA-F3D5-B3B5-821643DE370C}"/>
                </a:ext>
              </a:extLst>
            </p:cNvPr>
            <p:cNvSpPr/>
            <p:nvPr/>
          </p:nvSpPr>
          <p:spPr bwMode="auto">
            <a:xfrm rot="2700000">
              <a:off x="4261138" y="2350592"/>
              <a:ext cx="239696" cy="239695"/>
            </a:xfrm>
            <a:custGeom>
              <a:avLst/>
              <a:gdLst>
                <a:gd name="connsiteX0" fmla="*/ 30630 w 239696"/>
                <a:gd name="connsiteY0" fmla="*/ 30630 h 239695"/>
                <a:gd name="connsiteX1" fmla="*/ 104576 w 239696"/>
                <a:gd name="connsiteY1" fmla="*/ 0 h 239695"/>
                <a:gd name="connsiteX2" fmla="*/ 178489 w 239696"/>
                <a:gd name="connsiteY2" fmla="*/ 0 h 239695"/>
                <a:gd name="connsiteX3" fmla="*/ 219195 w 239696"/>
                <a:gd name="connsiteY3" fmla="*/ 8218 h 239695"/>
                <a:gd name="connsiteX4" fmla="*/ 239696 w 239696"/>
                <a:gd name="connsiteY4" fmla="*/ 22040 h 239695"/>
                <a:gd name="connsiteX5" fmla="*/ 22040 w 239696"/>
                <a:gd name="connsiteY5" fmla="*/ 239695 h 239695"/>
                <a:gd name="connsiteX6" fmla="*/ 8218 w 239696"/>
                <a:gd name="connsiteY6" fmla="*/ 219195 h 239695"/>
                <a:gd name="connsiteX7" fmla="*/ 0 w 239696"/>
                <a:gd name="connsiteY7" fmla="*/ 178489 h 239695"/>
                <a:gd name="connsiteX8" fmla="*/ 0 w 239696"/>
                <a:gd name="connsiteY8" fmla="*/ 104576 h 239695"/>
                <a:gd name="connsiteX9" fmla="*/ 30630 w 239696"/>
                <a:gd name="connsiteY9" fmla="*/ 30630 h 23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696" h="239695">
                  <a:moveTo>
                    <a:pt x="30630" y="30630"/>
                  </a:moveTo>
                  <a:cubicBezTo>
                    <a:pt x="49554" y="11705"/>
                    <a:pt x="75698" y="0"/>
                    <a:pt x="104576" y="0"/>
                  </a:cubicBezTo>
                  <a:lnTo>
                    <a:pt x="178489" y="0"/>
                  </a:lnTo>
                  <a:cubicBezTo>
                    <a:pt x="192928" y="0"/>
                    <a:pt x="206684" y="2926"/>
                    <a:pt x="219195" y="8218"/>
                  </a:cubicBezTo>
                  <a:lnTo>
                    <a:pt x="239696" y="22040"/>
                  </a:lnTo>
                  <a:lnTo>
                    <a:pt x="22040" y="239695"/>
                  </a:lnTo>
                  <a:lnTo>
                    <a:pt x="8218" y="219195"/>
                  </a:lnTo>
                  <a:cubicBezTo>
                    <a:pt x="2926" y="206683"/>
                    <a:pt x="0" y="192928"/>
                    <a:pt x="0" y="178489"/>
                  </a:cubicBezTo>
                  <a:lnTo>
                    <a:pt x="0" y="104576"/>
                  </a:lnTo>
                  <a:cubicBezTo>
                    <a:pt x="0" y="75698"/>
                    <a:pt x="11705" y="49554"/>
                    <a:pt x="30630" y="3063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p>
          </p:txBody>
        </p:sp>
        <p:sp>
          <p:nvSpPr>
            <p:cNvPr id="6" name="Freeform: Shape 5">
              <a:extLst>
                <a:ext uri="{FF2B5EF4-FFF2-40B4-BE49-F238E27FC236}">
                  <a16:creationId xmlns:a16="http://schemas.microsoft.com/office/drawing/2014/main" id="{EA3A29FA-E050-B76D-EED9-2E0AF41EED5D}"/>
                </a:ext>
              </a:extLst>
            </p:cNvPr>
            <p:cNvSpPr/>
            <p:nvPr/>
          </p:nvSpPr>
          <p:spPr bwMode="auto">
            <a:xfrm rot="2700000">
              <a:off x="4228151" y="2449801"/>
              <a:ext cx="70234" cy="54409"/>
            </a:xfrm>
            <a:custGeom>
              <a:avLst/>
              <a:gdLst>
                <a:gd name="connsiteX0" fmla="*/ 0 w 70234"/>
                <a:gd name="connsiteY0" fmla="*/ 0 h 54409"/>
                <a:gd name="connsiteX1" fmla="*/ 4842 w 70234"/>
                <a:gd name="connsiteY1" fmla="*/ 4842 h 54409"/>
                <a:gd name="connsiteX2" fmla="*/ 70234 w 70234"/>
                <a:gd name="connsiteY2" fmla="*/ 4841 h 54409"/>
                <a:gd name="connsiteX3" fmla="*/ 20667 w 70234"/>
                <a:gd name="connsiteY3" fmla="*/ 54409 h 54409"/>
                <a:gd name="connsiteX4" fmla="*/ 6845 w 70234"/>
                <a:gd name="connsiteY4" fmla="*/ 33909 h 54409"/>
                <a:gd name="connsiteX5" fmla="*/ 0 w 70234"/>
                <a:gd name="connsiteY5" fmla="*/ 0 h 5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234" h="54409">
                  <a:moveTo>
                    <a:pt x="0" y="0"/>
                  </a:moveTo>
                  <a:lnTo>
                    <a:pt x="4842" y="4842"/>
                  </a:lnTo>
                  <a:cubicBezTo>
                    <a:pt x="22868" y="22868"/>
                    <a:pt x="52146" y="22930"/>
                    <a:pt x="70234" y="4841"/>
                  </a:cubicBezTo>
                  <a:lnTo>
                    <a:pt x="20667" y="54409"/>
                  </a:lnTo>
                  <a:lnTo>
                    <a:pt x="6845" y="33909"/>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p>
          </p:txBody>
        </p:sp>
      </p:grpSp>
      <p:pic>
        <p:nvPicPr>
          <p:cNvPr id="7" name="Graphic 6">
            <a:extLst>
              <a:ext uri="{FF2B5EF4-FFF2-40B4-BE49-F238E27FC236}">
                <a16:creationId xmlns:a16="http://schemas.microsoft.com/office/drawing/2014/main" id="{E0F3EF52-337F-51EC-EE18-7E20D4A5ABF6}"/>
              </a:ext>
            </a:extLst>
          </p:cNvPr>
          <p:cNvPicPr>
            <a:picLocks noChangeAspect="1"/>
          </p:cNvPicPr>
          <p:nvPr userDrawn="1"/>
        </p:nvPicPr>
        <p:blipFill rotWithShape="1">
          <a:blip>
            <a:extLst>
              <a:ext uri="{96DAC541-7B7A-43D3-8B79-37D633B846F1}">
                <asvg:svgBlip xmlns:asvg="http://schemas.microsoft.com/office/drawing/2016/SVG/main" r:embed="rId3"/>
              </a:ext>
            </a:extLst>
          </a:blip>
          <a:srcRect l="5432" t="41103" r="5432" b="41103"/>
          <a:stretch/>
        </p:blipFill>
        <p:spPr>
          <a:xfrm>
            <a:off x="2" y="5407928"/>
            <a:ext cx="12191998" cy="1450073"/>
          </a:xfrm>
          <a:custGeom>
            <a:avLst/>
            <a:gdLst>
              <a:gd name="connsiteX0" fmla="*/ 0 w 12191998"/>
              <a:gd name="connsiteY0" fmla="*/ 0 h 1450073"/>
              <a:gd name="connsiteX1" fmla="*/ 674568 w 12191998"/>
              <a:gd name="connsiteY1" fmla="*/ 0 h 1450073"/>
              <a:gd name="connsiteX2" fmla="*/ 674568 w 12191998"/>
              <a:gd name="connsiteY2" fmla="*/ 776972 h 1450073"/>
              <a:gd name="connsiteX3" fmla="*/ 12191997 w 12191998"/>
              <a:gd name="connsiteY3" fmla="*/ 776972 h 1450073"/>
              <a:gd name="connsiteX4" fmla="*/ 12191997 w 12191998"/>
              <a:gd name="connsiteY4" fmla="*/ 0 h 1450073"/>
              <a:gd name="connsiteX5" fmla="*/ 12191998 w 12191998"/>
              <a:gd name="connsiteY5" fmla="*/ 0 h 1450073"/>
              <a:gd name="connsiteX6" fmla="*/ 12191998 w 12191998"/>
              <a:gd name="connsiteY6" fmla="*/ 1450073 h 1450073"/>
              <a:gd name="connsiteX7" fmla="*/ 0 w 12191998"/>
              <a:gd name="connsiteY7" fmla="*/ 1450073 h 145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8" h="1450073">
                <a:moveTo>
                  <a:pt x="0" y="0"/>
                </a:moveTo>
                <a:lnTo>
                  <a:pt x="674568" y="0"/>
                </a:lnTo>
                <a:lnTo>
                  <a:pt x="674568" y="776972"/>
                </a:lnTo>
                <a:lnTo>
                  <a:pt x="12191997" y="776972"/>
                </a:lnTo>
                <a:lnTo>
                  <a:pt x="12191997" y="0"/>
                </a:lnTo>
                <a:lnTo>
                  <a:pt x="12191998" y="0"/>
                </a:lnTo>
                <a:lnTo>
                  <a:pt x="12191998" y="1450073"/>
                </a:lnTo>
                <a:lnTo>
                  <a:pt x="0" y="1450073"/>
                </a:lnTo>
                <a:close/>
              </a:path>
            </a:pathLst>
          </a:custGeom>
        </p:spPr>
      </p:pic>
      <p:pic>
        <p:nvPicPr>
          <p:cNvPr id="8" name="Graphic 7">
            <a:extLst>
              <a:ext uri="{FF2B5EF4-FFF2-40B4-BE49-F238E27FC236}">
                <a16:creationId xmlns:a16="http://schemas.microsoft.com/office/drawing/2014/main" id="{944FE80C-912B-E59A-59B7-499AE9B1574F}"/>
              </a:ext>
            </a:extLst>
          </p:cNvPr>
          <p:cNvPicPr>
            <a:picLocks noChangeAspect="1"/>
          </p:cNvPicPr>
          <p:nvPr userDrawn="1"/>
        </p:nvPicPr>
        <p:blipFill rotWithShape="1">
          <a:blip>
            <a:alphaModFix amt="40000"/>
            <a:extLst>
              <a:ext uri="{96DAC541-7B7A-43D3-8B79-37D633B846F1}">
                <asvg:svgBlip xmlns:asvg="http://schemas.microsoft.com/office/drawing/2016/SVG/main" r:embed="rId4"/>
              </a:ext>
            </a:extLst>
          </a:blip>
          <a:srcRect l="6728" t="15844" r="2559" b="24788"/>
          <a:stretch/>
        </p:blipFill>
        <p:spPr>
          <a:xfrm flipH="1">
            <a:off x="0" y="3027530"/>
            <a:ext cx="10014301" cy="3830470"/>
          </a:xfrm>
          <a:prstGeom prst="rect">
            <a:avLst/>
          </a:prstGeom>
        </p:spPr>
      </p:pic>
      <p:sp>
        <p:nvSpPr>
          <p:cNvPr id="9" name="Freeform: Shape 8">
            <a:extLst>
              <a:ext uri="{FF2B5EF4-FFF2-40B4-BE49-F238E27FC236}">
                <a16:creationId xmlns:a16="http://schemas.microsoft.com/office/drawing/2014/main" id="{F36A0744-854D-23E0-AF91-837BCA970C8D}"/>
              </a:ext>
            </a:extLst>
          </p:cNvPr>
          <p:cNvSpPr/>
          <p:nvPr userDrawn="1"/>
        </p:nvSpPr>
        <p:spPr bwMode="auto">
          <a:xfrm>
            <a:off x="508424" y="1262740"/>
            <a:ext cx="11683574" cy="4985660"/>
          </a:xfrm>
          <a:custGeom>
            <a:avLst/>
            <a:gdLst>
              <a:gd name="connsiteX0" fmla="*/ 183273 w 11683574"/>
              <a:gd name="connsiteY0" fmla="*/ 0 h 4985660"/>
              <a:gd name="connsiteX1" fmla="*/ 263811 w 11683574"/>
              <a:gd name="connsiteY1" fmla="*/ 0 h 4985660"/>
              <a:gd name="connsiteX2" fmla="*/ 11603036 w 11683574"/>
              <a:gd name="connsiteY2" fmla="*/ 0 h 4985660"/>
              <a:gd name="connsiteX3" fmla="*/ 11683574 w 11683574"/>
              <a:gd name="connsiteY3" fmla="*/ 0 h 4985660"/>
              <a:gd name="connsiteX4" fmla="*/ 11683574 w 11683574"/>
              <a:gd name="connsiteY4" fmla="*/ 141388 h 4985660"/>
              <a:gd name="connsiteX5" fmla="*/ 11603036 w 11683574"/>
              <a:gd name="connsiteY5" fmla="*/ 141388 h 4985660"/>
              <a:gd name="connsiteX6" fmla="*/ 9294388 w 11683574"/>
              <a:gd name="connsiteY6" fmla="*/ 141388 h 4985660"/>
              <a:gd name="connsiteX7" fmla="*/ 6942946 w 11683574"/>
              <a:gd name="connsiteY7" fmla="*/ 2492830 h 4985660"/>
              <a:gd name="connsiteX8" fmla="*/ 9294388 w 11683574"/>
              <a:gd name="connsiteY8" fmla="*/ 4844272 h 4985660"/>
              <a:gd name="connsiteX9" fmla="*/ 11603036 w 11683574"/>
              <a:gd name="connsiteY9" fmla="*/ 4844272 h 4985660"/>
              <a:gd name="connsiteX10" fmla="*/ 11683574 w 11683574"/>
              <a:gd name="connsiteY10" fmla="*/ 4844272 h 4985660"/>
              <a:gd name="connsiteX11" fmla="*/ 11683574 w 11683574"/>
              <a:gd name="connsiteY11" fmla="*/ 4985660 h 4985660"/>
              <a:gd name="connsiteX12" fmla="*/ 11603036 w 11683574"/>
              <a:gd name="connsiteY12" fmla="*/ 4985660 h 4985660"/>
              <a:gd name="connsiteX13" fmla="*/ 263811 w 11683574"/>
              <a:gd name="connsiteY13" fmla="*/ 4985660 h 4985660"/>
              <a:gd name="connsiteX14" fmla="*/ 183273 w 11683574"/>
              <a:gd name="connsiteY14" fmla="*/ 4985660 h 4985660"/>
              <a:gd name="connsiteX15" fmla="*/ 0 w 11683574"/>
              <a:gd name="connsiteY15" fmla="*/ 4802387 h 4985660"/>
              <a:gd name="connsiteX16" fmla="*/ 0 w 11683574"/>
              <a:gd name="connsiteY16" fmla="*/ 183273 h 4985660"/>
              <a:gd name="connsiteX17" fmla="*/ 183273 w 11683574"/>
              <a:gd name="connsiteY17" fmla="*/ 0 h 498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683574" h="4985660">
                <a:moveTo>
                  <a:pt x="183273" y="0"/>
                </a:moveTo>
                <a:lnTo>
                  <a:pt x="263811" y="0"/>
                </a:lnTo>
                <a:lnTo>
                  <a:pt x="11603036" y="0"/>
                </a:lnTo>
                <a:lnTo>
                  <a:pt x="11683574" y="0"/>
                </a:lnTo>
                <a:lnTo>
                  <a:pt x="11683574" y="141388"/>
                </a:lnTo>
                <a:lnTo>
                  <a:pt x="11603036" y="141388"/>
                </a:lnTo>
                <a:lnTo>
                  <a:pt x="9294388" y="141388"/>
                </a:lnTo>
                <a:cubicBezTo>
                  <a:pt x="7995722" y="141388"/>
                  <a:pt x="6942946" y="1194164"/>
                  <a:pt x="6942946" y="2492830"/>
                </a:cubicBezTo>
                <a:cubicBezTo>
                  <a:pt x="6942946" y="3791496"/>
                  <a:pt x="7995722" y="4844272"/>
                  <a:pt x="9294388" y="4844272"/>
                </a:cubicBezTo>
                <a:lnTo>
                  <a:pt x="11603036" y="4844272"/>
                </a:lnTo>
                <a:lnTo>
                  <a:pt x="11683574" y="4844272"/>
                </a:lnTo>
                <a:lnTo>
                  <a:pt x="11683574" y="4985660"/>
                </a:lnTo>
                <a:lnTo>
                  <a:pt x="11603036" y="4985660"/>
                </a:lnTo>
                <a:lnTo>
                  <a:pt x="263811" y="4985660"/>
                </a:lnTo>
                <a:lnTo>
                  <a:pt x="183273" y="4985660"/>
                </a:lnTo>
                <a:cubicBezTo>
                  <a:pt x="82054" y="4985660"/>
                  <a:pt x="0" y="4903606"/>
                  <a:pt x="0" y="4802387"/>
                </a:cubicBezTo>
                <a:lnTo>
                  <a:pt x="0" y="183273"/>
                </a:lnTo>
                <a:cubicBezTo>
                  <a:pt x="0" y="82054"/>
                  <a:pt x="82054" y="0"/>
                  <a:pt x="183273" y="0"/>
                </a:cubicBezTo>
                <a:close/>
              </a:path>
            </a:pathLst>
          </a:custGeom>
          <a:solidFill>
            <a:srgbClr val="FFFFFF"/>
          </a:solidFill>
          <a:ln w="3175" cap="flat">
            <a:noFill/>
            <a:prstDash val="solid"/>
            <a:miter/>
          </a:ln>
          <a:effectLst>
            <a:outerShdw blurRad="368300" dist="25400" dir="2700000" algn="tl" rotWithShape="0">
              <a:schemeClr val="accent3">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534D8B1E-013C-B0AA-A81F-F6C98D4D0251}"/>
              </a:ext>
            </a:extLst>
          </p:cNvPr>
          <p:cNvSpPr>
            <a:spLocks noChangeAspect="1"/>
          </p:cNvSpPr>
          <p:nvPr userDrawn="1"/>
        </p:nvSpPr>
        <p:spPr>
          <a:xfrm>
            <a:off x="380462" y="1417220"/>
            <a:ext cx="6463564" cy="546233"/>
          </a:xfrm>
          <a:custGeom>
            <a:avLst/>
            <a:gdLst>
              <a:gd name="connsiteX0" fmla="*/ 0 w 6341741"/>
              <a:gd name="connsiteY0" fmla="*/ 0 h 438092"/>
              <a:gd name="connsiteX1" fmla="*/ 101893 w 6341741"/>
              <a:gd name="connsiteY1" fmla="*/ 0 h 438092"/>
              <a:gd name="connsiteX2" fmla="*/ 3348577 w 6341741"/>
              <a:gd name="connsiteY2" fmla="*/ 0 h 438092"/>
              <a:gd name="connsiteX3" fmla="*/ 3370473 w 6341741"/>
              <a:gd name="connsiteY3" fmla="*/ 0 h 438092"/>
              <a:gd name="connsiteX4" fmla="*/ 3450470 w 6341741"/>
              <a:gd name="connsiteY4" fmla="*/ 0 h 438092"/>
              <a:gd name="connsiteX5" fmla="*/ 3472366 w 6341741"/>
              <a:gd name="connsiteY5" fmla="*/ 0 h 438092"/>
              <a:gd name="connsiteX6" fmla="*/ 3657073 w 6341741"/>
              <a:gd name="connsiteY6" fmla="*/ 0 h 438092"/>
              <a:gd name="connsiteX7" fmla="*/ 3758966 w 6341741"/>
              <a:gd name="connsiteY7" fmla="*/ 0 h 438092"/>
              <a:gd name="connsiteX8" fmla="*/ 3768936 w 6341741"/>
              <a:gd name="connsiteY8" fmla="*/ 0 h 438092"/>
              <a:gd name="connsiteX9" fmla="*/ 3870829 w 6341741"/>
              <a:gd name="connsiteY9" fmla="*/ 0 h 438092"/>
              <a:gd name="connsiteX10" fmla="*/ 4082297 w 6341741"/>
              <a:gd name="connsiteY10" fmla="*/ 0 h 438092"/>
              <a:gd name="connsiteX11" fmla="*/ 4184190 w 6341741"/>
              <a:gd name="connsiteY11" fmla="*/ 0 h 438092"/>
              <a:gd name="connsiteX12" fmla="*/ 4884385 w 6341741"/>
              <a:gd name="connsiteY12" fmla="*/ 0 h 438092"/>
              <a:gd name="connsiteX13" fmla="*/ 4986278 w 6341741"/>
              <a:gd name="connsiteY13" fmla="*/ 0 h 438092"/>
              <a:gd name="connsiteX14" fmla="*/ 5357834 w 6341741"/>
              <a:gd name="connsiteY14" fmla="*/ 0 h 438092"/>
              <a:gd name="connsiteX15" fmla="*/ 5379730 w 6341741"/>
              <a:gd name="connsiteY15" fmla="*/ 0 h 438092"/>
              <a:gd name="connsiteX16" fmla="*/ 5459727 w 6341741"/>
              <a:gd name="connsiteY16" fmla="*/ 0 h 438092"/>
              <a:gd name="connsiteX17" fmla="*/ 5481623 w 6341741"/>
              <a:gd name="connsiteY17" fmla="*/ 0 h 438092"/>
              <a:gd name="connsiteX18" fmla="*/ 6091554 w 6341741"/>
              <a:gd name="connsiteY18" fmla="*/ 0 h 438092"/>
              <a:gd name="connsiteX19" fmla="*/ 6193447 w 6341741"/>
              <a:gd name="connsiteY19" fmla="*/ 0 h 438092"/>
              <a:gd name="connsiteX20" fmla="*/ 6260024 w 6341741"/>
              <a:gd name="connsiteY20" fmla="*/ 58378 h 438092"/>
              <a:gd name="connsiteX21" fmla="*/ 6337019 w 6341741"/>
              <a:gd name="connsiteY21" fmla="*/ 315138 h 438092"/>
              <a:gd name="connsiteX22" fmla="*/ 6270443 w 6341741"/>
              <a:gd name="connsiteY22" fmla="*/ 438092 h 438092"/>
              <a:gd name="connsiteX23" fmla="*/ 6168550 w 6341741"/>
              <a:gd name="connsiteY23" fmla="*/ 438092 h 438092"/>
              <a:gd name="connsiteX24" fmla="*/ 5481623 w 6341741"/>
              <a:gd name="connsiteY24" fmla="*/ 438092 h 438092"/>
              <a:gd name="connsiteX25" fmla="*/ 5459727 w 6341741"/>
              <a:gd name="connsiteY25" fmla="*/ 438092 h 438092"/>
              <a:gd name="connsiteX26" fmla="*/ 5379730 w 6341741"/>
              <a:gd name="connsiteY26" fmla="*/ 438092 h 438092"/>
              <a:gd name="connsiteX27" fmla="*/ 5357834 w 6341741"/>
              <a:gd name="connsiteY27" fmla="*/ 438092 h 438092"/>
              <a:gd name="connsiteX28" fmla="*/ 4986278 w 6341741"/>
              <a:gd name="connsiteY28" fmla="*/ 438092 h 438092"/>
              <a:gd name="connsiteX29" fmla="*/ 4884385 w 6341741"/>
              <a:gd name="connsiteY29" fmla="*/ 438092 h 438092"/>
              <a:gd name="connsiteX30" fmla="*/ 4261186 w 6341741"/>
              <a:gd name="connsiteY30" fmla="*/ 438092 h 438092"/>
              <a:gd name="connsiteX31" fmla="*/ 4159293 w 6341741"/>
              <a:gd name="connsiteY31" fmla="*/ 438092 h 438092"/>
              <a:gd name="connsiteX32" fmla="*/ 3939345 w 6341741"/>
              <a:gd name="connsiteY32" fmla="*/ 438092 h 438092"/>
              <a:gd name="connsiteX33" fmla="*/ 3870829 w 6341741"/>
              <a:gd name="connsiteY33" fmla="*/ 438092 h 438092"/>
              <a:gd name="connsiteX34" fmla="*/ 3837452 w 6341741"/>
              <a:gd name="connsiteY34" fmla="*/ 438092 h 438092"/>
              <a:gd name="connsiteX35" fmla="*/ 3768936 w 6341741"/>
              <a:gd name="connsiteY35" fmla="*/ 438092 h 438092"/>
              <a:gd name="connsiteX36" fmla="*/ 3472366 w 6341741"/>
              <a:gd name="connsiteY36" fmla="*/ 438092 h 438092"/>
              <a:gd name="connsiteX37" fmla="*/ 3450470 w 6341741"/>
              <a:gd name="connsiteY37" fmla="*/ 438092 h 438092"/>
              <a:gd name="connsiteX38" fmla="*/ 3370473 w 6341741"/>
              <a:gd name="connsiteY38" fmla="*/ 438092 h 438092"/>
              <a:gd name="connsiteX39" fmla="*/ 3348577 w 6341741"/>
              <a:gd name="connsiteY39" fmla="*/ 438092 h 438092"/>
              <a:gd name="connsiteX40" fmla="*/ 282272 w 6341741"/>
              <a:gd name="connsiteY40" fmla="*/ 438092 h 438092"/>
              <a:gd name="connsiteX41" fmla="*/ 180379 w 6341741"/>
              <a:gd name="connsiteY41" fmla="*/ 438092 h 438092"/>
              <a:gd name="connsiteX42" fmla="*/ 113802 w 6341741"/>
              <a:gd name="connsiteY42" fmla="*/ 379714 h 438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341741" h="438092">
                <a:moveTo>
                  <a:pt x="0" y="0"/>
                </a:moveTo>
                <a:lnTo>
                  <a:pt x="101893" y="0"/>
                </a:lnTo>
                <a:lnTo>
                  <a:pt x="3348577" y="0"/>
                </a:lnTo>
                <a:lnTo>
                  <a:pt x="3370473" y="0"/>
                </a:lnTo>
                <a:lnTo>
                  <a:pt x="3450470" y="0"/>
                </a:lnTo>
                <a:lnTo>
                  <a:pt x="3472366" y="0"/>
                </a:lnTo>
                <a:lnTo>
                  <a:pt x="3657073" y="0"/>
                </a:lnTo>
                <a:lnTo>
                  <a:pt x="3758966" y="0"/>
                </a:lnTo>
                <a:lnTo>
                  <a:pt x="3768936" y="0"/>
                </a:lnTo>
                <a:lnTo>
                  <a:pt x="3870829" y="0"/>
                </a:lnTo>
                <a:lnTo>
                  <a:pt x="4082297" y="0"/>
                </a:lnTo>
                <a:lnTo>
                  <a:pt x="4184190" y="0"/>
                </a:lnTo>
                <a:lnTo>
                  <a:pt x="4884385" y="0"/>
                </a:lnTo>
                <a:lnTo>
                  <a:pt x="4986278" y="0"/>
                </a:lnTo>
                <a:lnTo>
                  <a:pt x="5357834" y="0"/>
                </a:lnTo>
                <a:lnTo>
                  <a:pt x="5379730" y="0"/>
                </a:lnTo>
                <a:lnTo>
                  <a:pt x="5459727" y="0"/>
                </a:lnTo>
                <a:lnTo>
                  <a:pt x="5481623" y="0"/>
                </a:lnTo>
                <a:lnTo>
                  <a:pt x="6091554" y="0"/>
                </a:lnTo>
                <a:lnTo>
                  <a:pt x="6193447" y="0"/>
                </a:lnTo>
                <a:cubicBezTo>
                  <a:pt x="6222946" y="0"/>
                  <a:pt x="6249468" y="23248"/>
                  <a:pt x="6260024" y="58378"/>
                </a:cubicBezTo>
                <a:lnTo>
                  <a:pt x="6337019" y="315138"/>
                </a:lnTo>
                <a:cubicBezTo>
                  <a:pt x="6354746" y="374549"/>
                  <a:pt x="6320375" y="438092"/>
                  <a:pt x="6270443" y="438092"/>
                </a:cubicBezTo>
                <a:lnTo>
                  <a:pt x="6168550" y="438092"/>
                </a:lnTo>
                <a:lnTo>
                  <a:pt x="5481623" y="438092"/>
                </a:lnTo>
                <a:lnTo>
                  <a:pt x="5459727" y="438092"/>
                </a:lnTo>
                <a:lnTo>
                  <a:pt x="5379730" y="438092"/>
                </a:lnTo>
                <a:lnTo>
                  <a:pt x="5357834" y="438092"/>
                </a:lnTo>
                <a:lnTo>
                  <a:pt x="4986278" y="438092"/>
                </a:lnTo>
                <a:lnTo>
                  <a:pt x="4884385" y="438092"/>
                </a:lnTo>
                <a:lnTo>
                  <a:pt x="4261186" y="438092"/>
                </a:lnTo>
                <a:lnTo>
                  <a:pt x="4159293" y="438092"/>
                </a:lnTo>
                <a:lnTo>
                  <a:pt x="3939345" y="438092"/>
                </a:lnTo>
                <a:lnTo>
                  <a:pt x="3870829" y="438092"/>
                </a:lnTo>
                <a:lnTo>
                  <a:pt x="3837452" y="438092"/>
                </a:lnTo>
                <a:lnTo>
                  <a:pt x="3768936" y="438092"/>
                </a:lnTo>
                <a:lnTo>
                  <a:pt x="3472366" y="438092"/>
                </a:lnTo>
                <a:lnTo>
                  <a:pt x="3450470" y="438092"/>
                </a:lnTo>
                <a:lnTo>
                  <a:pt x="3370473" y="438092"/>
                </a:lnTo>
                <a:lnTo>
                  <a:pt x="3348577" y="438092"/>
                </a:lnTo>
                <a:lnTo>
                  <a:pt x="282272" y="438092"/>
                </a:lnTo>
                <a:lnTo>
                  <a:pt x="180379" y="438092"/>
                </a:lnTo>
                <a:cubicBezTo>
                  <a:pt x="150880" y="438092"/>
                  <a:pt x="124358" y="414844"/>
                  <a:pt x="113802" y="379714"/>
                </a:cubicBezTo>
                <a:close/>
              </a:path>
            </a:pathLst>
          </a:custGeom>
          <a:gradFill flip="none" rotWithShape="1">
            <a:gsLst>
              <a:gs pos="27000">
                <a:schemeClr val="accent3"/>
              </a:gs>
              <a:gs pos="0">
                <a:schemeClr val="accent3"/>
              </a:gs>
              <a:gs pos="100000">
                <a:srgbClr val="50E6FF">
                  <a:lumMod val="89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a:solidFill>
                <a:schemeClr val="bg1"/>
              </a:solidFill>
              <a:latin typeface="+mj-lt"/>
              <a:cs typeface="Segoe Sans Text Light" pitchFamily="2" charset="0"/>
            </a:endParaRPr>
          </a:p>
        </p:txBody>
      </p:sp>
      <p:sp>
        <p:nvSpPr>
          <p:cNvPr id="14" name="Rectangle: Rounded Corners 13">
            <a:extLst>
              <a:ext uri="{FF2B5EF4-FFF2-40B4-BE49-F238E27FC236}">
                <a16:creationId xmlns:a16="http://schemas.microsoft.com/office/drawing/2014/main" id="{446D5BC2-7BC6-2B1D-8D40-6978B85C8562}"/>
              </a:ext>
            </a:extLst>
          </p:cNvPr>
          <p:cNvSpPr/>
          <p:nvPr userDrawn="1"/>
        </p:nvSpPr>
        <p:spPr bwMode="auto">
          <a:xfrm>
            <a:off x="3743270" y="2205379"/>
            <a:ext cx="51260" cy="3840480"/>
          </a:xfrm>
          <a:prstGeom prst="roundRect">
            <a:avLst>
              <a:gd name="adj" fmla="val 50000"/>
            </a:avLst>
          </a:prstGeom>
          <a:solidFill>
            <a:schemeClr val="accent1">
              <a:lumMod val="20000"/>
              <a:lumOff val="80000"/>
              <a:alpha val="42000"/>
            </a:schemeClr>
          </a:solidFill>
          <a:ln w="63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AFB44C65-83E2-11B5-309D-0B3A51D40084}"/>
              </a:ext>
              <a:ext uri="{C183D7F6-B498-43B3-948B-1728B52AA6E4}">
                <adec:decorative xmlns:adec="http://schemas.microsoft.com/office/drawing/2017/decorative" val="1"/>
              </a:ext>
            </a:extLst>
          </p:cNvPr>
          <p:cNvSpPr>
            <a:spLocks noChangeAspect="1"/>
          </p:cNvSpPr>
          <p:nvPr/>
        </p:nvSpPr>
        <p:spPr bwMode="auto">
          <a:xfrm>
            <a:off x="750525" y="2205379"/>
            <a:ext cx="479150" cy="479150"/>
          </a:xfrm>
          <a:prstGeom prst="ellipse">
            <a:avLst/>
          </a:prstGeom>
          <a:solidFill>
            <a:schemeClr val="bg1"/>
          </a:solidFill>
          <a:ln>
            <a:solidFill>
              <a:schemeClr val="accent3">
                <a:lumMod val="75000"/>
              </a:schemeClr>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1600" b="1" err="1">
              <a:solidFill>
                <a:schemeClr val="tx1"/>
              </a:solidFill>
              <a:cs typeface="Segoe UI Semibold" panose="020B0702040204020203" pitchFamily="34" charset="0"/>
            </a:endParaRPr>
          </a:p>
        </p:txBody>
      </p:sp>
      <p:sp>
        <p:nvSpPr>
          <p:cNvPr id="19" name="Oval 18">
            <a:extLst>
              <a:ext uri="{FF2B5EF4-FFF2-40B4-BE49-F238E27FC236}">
                <a16:creationId xmlns:a16="http://schemas.microsoft.com/office/drawing/2014/main" id="{551A994E-E11D-DC2F-04DF-7A27327B700C}"/>
              </a:ext>
              <a:ext uri="{C183D7F6-B498-43B3-948B-1728B52AA6E4}">
                <adec:decorative xmlns:adec="http://schemas.microsoft.com/office/drawing/2017/decorative" val="1"/>
              </a:ext>
            </a:extLst>
          </p:cNvPr>
          <p:cNvSpPr>
            <a:spLocks noChangeAspect="1"/>
          </p:cNvSpPr>
          <p:nvPr/>
        </p:nvSpPr>
        <p:spPr bwMode="auto">
          <a:xfrm>
            <a:off x="4085837" y="2205379"/>
            <a:ext cx="479150" cy="479150"/>
          </a:xfrm>
          <a:prstGeom prst="ellipse">
            <a:avLst/>
          </a:prstGeom>
          <a:solidFill>
            <a:schemeClr val="bg1"/>
          </a:solidFill>
          <a:ln>
            <a:solidFill>
              <a:schemeClr val="accent3">
                <a:lumMod val="75000"/>
              </a:schemeClr>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1600" b="1" err="1">
              <a:solidFill>
                <a:schemeClr val="tx1"/>
              </a:solidFill>
              <a:cs typeface="Segoe UI Semibold" panose="020B0702040204020203" pitchFamily="34" charset="0"/>
            </a:endParaRPr>
          </a:p>
        </p:txBody>
      </p:sp>
      <p:sp>
        <p:nvSpPr>
          <p:cNvPr id="23" name="Rectangle: Top Corners Rounded 22">
            <a:extLst>
              <a:ext uri="{FF2B5EF4-FFF2-40B4-BE49-F238E27FC236}">
                <a16:creationId xmlns:a16="http://schemas.microsoft.com/office/drawing/2014/main" id="{63EAD8C8-F907-A8F3-1D03-9908B8F005F2}"/>
              </a:ext>
            </a:extLst>
          </p:cNvPr>
          <p:cNvSpPr/>
          <p:nvPr userDrawn="1"/>
        </p:nvSpPr>
        <p:spPr bwMode="auto">
          <a:xfrm rot="5400000" flipH="1" flipV="1">
            <a:off x="7725539" y="1472885"/>
            <a:ext cx="4367548" cy="4565369"/>
          </a:xfrm>
          <a:prstGeom prst="round2SameRect">
            <a:avLst>
              <a:gd name="adj1" fmla="val 50000"/>
              <a:gd name="adj2" fmla="val 0"/>
            </a:avLst>
          </a:prstGeom>
          <a:solidFill>
            <a:schemeClr val="bg1">
              <a:lumMod val="95000"/>
            </a:schemeClr>
          </a:solidFill>
          <a:ln>
            <a:noFill/>
            <a:headEnd type="none" w="med" len="med"/>
            <a:tailEnd type="none" w="med" len="med"/>
          </a:ln>
          <a:effectLst>
            <a:outerShdw blurRad="63500" dist="38100" algn="l" rotWithShape="0">
              <a:prstClr val="black">
                <a:alpha val="1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4" name="Rectangle: Top Corners Rounded 23">
            <a:extLst>
              <a:ext uri="{FF2B5EF4-FFF2-40B4-BE49-F238E27FC236}">
                <a16:creationId xmlns:a16="http://schemas.microsoft.com/office/drawing/2014/main" id="{2248476B-D180-5198-5408-BEBEA8CBBECF}"/>
              </a:ext>
            </a:extLst>
          </p:cNvPr>
          <p:cNvSpPr/>
          <p:nvPr userDrawn="1"/>
        </p:nvSpPr>
        <p:spPr bwMode="auto">
          <a:xfrm rot="16200000" flipH="1">
            <a:off x="9941775" y="3712764"/>
            <a:ext cx="4414844" cy="85611"/>
          </a:xfrm>
          <a:prstGeom prst="round2SameRect">
            <a:avLst>
              <a:gd name="adj1" fmla="val 50000"/>
              <a:gd name="adj2" fmla="val 0"/>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5" name="Oval 24">
            <a:extLst>
              <a:ext uri="{FF2B5EF4-FFF2-40B4-BE49-F238E27FC236}">
                <a16:creationId xmlns:a16="http://schemas.microsoft.com/office/drawing/2014/main" id="{809758F7-A6AC-D53A-4F29-073208BA817F}"/>
              </a:ext>
              <a:ext uri="{C183D7F6-B498-43B3-948B-1728B52AA6E4}">
                <adec:decorative xmlns:adec="http://schemas.microsoft.com/office/drawing/2017/decorative" val="1"/>
              </a:ext>
            </a:extLst>
          </p:cNvPr>
          <p:cNvSpPr>
            <a:spLocks noChangeAspect="1"/>
          </p:cNvSpPr>
          <p:nvPr userDrawn="1"/>
        </p:nvSpPr>
        <p:spPr bwMode="auto">
          <a:xfrm flipH="1">
            <a:off x="7894999" y="1837035"/>
            <a:ext cx="3837083" cy="3837083"/>
          </a:xfrm>
          <a:prstGeom prst="ellipse">
            <a:avLst/>
          </a:prstGeom>
          <a:solidFill>
            <a:schemeClr val="bg1"/>
          </a:solidFill>
          <a:ln>
            <a:solidFill>
              <a:schemeClr val="accent3">
                <a:lumMod val="75000"/>
              </a:schemeClr>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2000" b="1">
              <a:solidFill>
                <a:schemeClr val="accent3"/>
              </a:solidFill>
              <a:cs typeface="Segoe UI Semibold" panose="020B0702040204020203" pitchFamily="34" charset="0"/>
            </a:endParaRPr>
          </a:p>
        </p:txBody>
      </p:sp>
      <p:cxnSp>
        <p:nvCxnSpPr>
          <p:cNvPr id="27" name="Straight Connector 26">
            <a:extLst>
              <a:ext uri="{FF2B5EF4-FFF2-40B4-BE49-F238E27FC236}">
                <a16:creationId xmlns:a16="http://schemas.microsoft.com/office/drawing/2014/main" id="{765EC83C-4A2D-3675-2D79-1AE2BF9AA61A}"/>
              </a:ext>
            </a:extLst>
          </p:cNvPr>
          <p:cNvCxnSpPr>
            <a:cxnSpLocks/>
          </p:cNvCxnSpPr>
          <p:nvPr userDrawn="1"/>
        </p:nvCxnSpPr>
        <p:spPr>
          <a:xfrm flipH="1">
            <a:off x="0" y="1217021"/>
            <a:ext cx="12192000" cy="0"/>
          </a:xfrm>
          <a:prstGeom prst="line">
            <a:avLst/>
          </a:prstGeom>
          <a:ln w="3175">
            <a:gradFill flip="none" rotWithShape="1">
              <a:gsLst>
                <a:gs pos="0">
                  <a:schemeClr val="bg1"/>
                </a:gs>
                <a:gs pos="100000">
                  <a:schemeClr val="accent3">
                    <a:lumMod val="40000"/>
                    <a:lumOff val="6000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43">
            <a:extLst>
              <a:ext uri="{FF2B5EF4-FFF2-40B4-BE49-F238E27FC236}">
                <a16:creationId xmlns:a16="http://schemas.microsoft.com/office/drawing/2014/main" id="{E6779CD8-2514-2A5B-4502-5C5595FC9E3E}"/>
              </a:ext>
            </a:extLst>
          </p:cNvPr>
          <p:cNvSpPr>
            <a:spLocks noGrp="1"/>
          </p:cNvSpPr>
          <p:nvPr>
            <p:ph type="body" sz="quarter" idx="11" hasCustomPrompt="1"/>
          </p:nvPr>
        </p:nvSpPr>
        <p:spPr>
          <a:xfrm>
            <a:off x="724867" y="1505670"/>
            <a:ext cx="5777534" cy="369332"/>
          </a:xfrm>
        </p:spPr>
        <p:txBody>
          <a:bodyPr wrap="square" anchor="ctr">
            <a:spAutoFit/>
          </a:bodyPr>
          <a:lstStyle>
            <a:lvl1pPr marL="0" indent="0" algn="l">
              <a:buNone/>
              <a:defRPr sz="2400">
                <a:solidFill>
                  <a:schemeClr val="bg1"/>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GB"/>
              <a:t>Click to add text</a:t>
            </a:r>
          </a:p>
        </p:txBody>
      </p:sp>
      <p:sp>
        <p:nvSpPr>
          <p:cNvPr id="29" name="Text Placeholder 43">
            <a:extLst>
              <a:ext uri="{FF2B5EF4-FFF2-40B4-BE49-F238E27FC236}">
                <a16:creationId xmlns:a16="http://schemas.microsoft.com/office/drawing/2014/main" id="{A917E5FF-799B-C0D2-DA6C-E93CCFEFB6CF}"/>
              </a:ext>
            </a:extLst>
          </p:cNvPr>
          <p:cNvSpPr>
            <a:spLocks noGrp="1"/>
          </p:cNvSpPr>
          <p:nvPr>
            <p:ph type="body" sz="quarter" idx="12" hasCustomPrompt="1"/>
          </p:nvPr>
        </p:nvSpPr>
        <p:spPr>
          <a:xfrm>
            <a:off x="1359905" y="2306454"/>
            <a:ext cx="2273883" cy="276999"/>
          </a:xfrm>
        </p:spPr>
        <p:txBody>
          <a:bodyPr wrap="square" anchor="t">
            <a:spAutoFit/>
          </a:bodyPr>
          <a:lstStyle>
            <a:lvl1pPr marL="0" indent="0" algn="l">
              <a:buNone/>
              <a:defRPr sz="1800">
                <a:solidFill>
                  <a:schemeClr val="accent3"/>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GB"/>
              <a:t>Click to add text</a:t>
            </a:r>
          </a:p>
        </p:txBody>
      </p:sp>
      <p:sp>
        <p:nvSpPr>
          <p:cNvPr id="30" name="Text Placeholder 43">
            <a:extLst>
              <a:ext uri="{FF2B5EF4-FFF2-40B4-BE49-F238E27FC236}">
                <a16:creationId xmlns:a16="http://schemas.microsoft.com/office/drawing/2014/main" id="{FA9EF605-18A5-8A68-F473-40B0BAD2EBB1}"/>
              </a:ext>
            </a:extLst>
          </p:cNvPr>
          <p:cNvSpPr>
            <a:spLocks noGrp="1"/>
          </p:cNvSpPr>
          <p:nvPr>
            <p:ph type="body" sz="quarter" idx="13" hasCustomPrompt="1"/>
          </p:nvPr>
        </p:nvSpPr>
        <p:spPr>
          <a:xfrm>
            <a:off x="919369" y="2847093"/>
            <a:ext cx="2776282" cy="1046440"/>
          </a:xfrm>
        </p:spPr>
        <p:txBody>
          <a:bodyPr wrap="square" anchor="t">
            <a:spAutoFit/>
          </a:bodyPr>
          <a:lstStyle>
            <a:lvl1pPr marL="228600" indent="-228600" algn="l">
              <a:spcBef>
                <a:spcPts val="0"/>
              </a:spcBef>
              <a:spcAft>
                <a:spcPts val="1200"/>
              </a:spcAft>
              <a:buSzPct val="100000"/>
              <a:buFont typeface="Arial" panose="020B0604020202020204" pitchFamily="34" charset="0"/>
              <a:buChar char="•"/>
              <a:defRPr sz="1600" b="0">
                <a:solidFill>
                  <a:schemeClr val="tx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GB"/>
              <a:t>Click to add text</a:t>
            </a:r>
          </a:p>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lang="en-GB"/>
              <a:t>Click to add text</a:t>
            </a:r>
          </a:p>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lang="en-GB"/>
              <a:t>Click to add text</a:t>
            </a:r>
          </a:p>
        </p:txBody>
      </p:sp>
      <p:sp>
        <p:nvSpPr>
          <p:cNvPr id="31" name="Text Placeholder 43">
            <a:extLst>
              <a:ext uri="{FF2B5EF4-FFF2-40B4-BE49-F238E27FC236}">
                <a16:creationId xmlns:a16="http://schemas.microsoft.com/office/drawing/2014/main" id="{A6ABA7FA-FCE1-E92C-B5F7-0EDB6FB3CFDC}"/>
              </a:ext>
            </a:extLst>
          </p:cNvPr>
          <p:cNvSpPr>
            <a:spLocks noGrp="1"/>
          </p:cNvSpPr>
          <p:nvPr>
            <p:ph type="body" sz="quarter" idx="14" hasCustomPrompt="1"/>
          </p:nvPr>
        </p:nvSpPr>
        <p:spPr>
          <a:xfrm>
            <a:off x="4254060" y="2847093"/>
            <a:ext cx="2776282" cy="1046440"/>
          </a:xfrm>
        </p:spPr>
        <p:txBody>
          <a:bodyPr wrap="square" anchor="t">
            <a:spAutoFit/>
          </a:bodyPr>
          <a:lstStyle>
            <a:lvl1pPr marL="228600" indent="-228600" algn="l">
              <a:spcBef>
                <a:spcPts val="0"/>
              </a:spcBef>
              <a:spcAft>
                <a:spcPts val="1200"/>
              </a:spcAft>
              <a:buSzPct val="100000"/>
              <a:buFont typeface="Arial" panose="020B0604020202020204" pitchFamily="34" charset="0"/>
              <a:buChar char="•"/>
              <a:defRPr sz="1600" b="0">
                <a:solidFill>
                  <a:schemeClr val="tx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GB"/>
              <a:t>Click to add text</a:t>
            </a:r>
          </a:p>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lang="en-GB"/>
              <a:t>Click to add text</a:t>
            </a:r>
          </a:p>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lang="en-GB"/>
              <a:t>Click to add text</a:t>
            </a:r>
          </a:p>
        </p:txBody>
      </p:sp>
      <p:sp>
        <p:nvSpPr>
          <p:cNvPr id="32" name="Text Placeholder 43">
            <a:extLst>
              <a:ext uri="{FF2B5EF4-FFF2-40B4-BE49-F238E27FC236}">
                <a16:creationId xmlns:a16="http://schemas.microsoft.com/office/drawing/2014/main" id="{BF3FEB0C-436A-5973-26E3-1C903F8DF48E}"/>
              </a:ext>
            </a:extLst>
          </p:cNvPr>
          <p:cNvSpPr>
            <a:spLocks noGrp="1"/>
          </p:cNvSpPr>
          <p:nvPr>
            <p:ph type="body" sz="quarter" idx="15" hasCustomPrompt="1"/>
          </p:nvPr>
        </p:nvSpPr>
        <p:spPr>
          <a:xfrm>
            <a:off x="4696521" y="2306454"/>
            <a:ext cx="2273883" cy="276999"/>
          </a:xfrm>
        </p:spPr>
        <p:txBody>
          <a:bodyPr wrap="square" anchor="t">
            <a:spAutoFit/>
          </a:bodyPr>
          <a:lstStyle>
            <a:lvl1pPr marL="0" indent="0" algn="l">
              <a:buNone/>
              <a:defRPr sz="1800">
                <a:solidFill>
                  <a:schemeClr val="accent3"/>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GB"/>
              <a:t>Click to add text</a:t>
            </a:r>
          </a:p>
        </p:txBody>
      </p:sp>
    </p:spTree>
    <p:custDataLst>
      <p:tags r:id="rId1"/>
    </p:custDataLst>
    <p:extLst>
      <p:ext uri="{BB962C8B-B14F-4D97-AF65-F5344CB8AC3E}">
        <p14:creationId xmlns:p14="http://schemas.microsoft.com/office/powerpoint/2010/main" val="30609268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with ic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wrap="square" lIns="0" tIns="0" rIns="0" bIns="0" rtlCol="0" anchor="t">
            <a:spAutoFit/>
          </a:bodyPr>
          <a:lstStyle>
            <a:lvl1pPr>
              <a:defRPr lang="en-US" spc="0" baseline="0">
                <a:latin typeface="+mj-lt"/>
                <a:cs typeface="Segoe Sans Text" pitchFamily="2" charset="0"/>
              </a:defRPr>
            </a:lvl1pPr>
          </a:lstStyle>
          <a:p>
            <a:pPr lvl="0"/>
            <a:r>
              <a:rPr lang="en-US"/>
              <a:t>Click to edit Master title style</a:t>
            </a:r>
          </a:p>
        </p:txBody>
      </p:sp>
      <p:sp>
        <p:nvSpPr>
          <p:cNvPr id="3" name="Rectangle: Top Corners Rounded 2">
            <a:extLst>
              <a:ext uri="{FF2B5EF4-FFF2-40B4-BE49-F238E27FC236}">
                <a16:creationId xmlns:a16="http://schemas.microsoft.com/office/drawing/2014/main" id="{8A6AE92D-AB8F-AF12-1DED-2C6882961812}"/>
              </a:ext>
            </a:extLst>
          </p:cNvPr>
          <p:cNvSpPr/>
          <p:nvPr userDrawn="1"/>
        </p:nvSpPr>
        <p:spPr bwMode="auto">
          <a:xfrm rot="5400000">
            <a:off x="2954418" y="-1392157"/>
            <a:ext cx="638012" cy="6546849"/>
          </a:xfrm>
          <a:prstGeom prst="round2SameRect">
            <a:avLst>
              <a:gd name="adj1" fmla="val 50000"/>
              <a:gd name="adj2" fmla="val 0"/>
            </a:avLst>
          </a:prstGeom>
          <a:solidFill>
            <a:schemeClr val="accent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4" name="Graphic 3">
            <a:extLst>
              <a:ext uri="{FF2B5EF4-FFF2-40B4-BE49-F238E27FC236}">
                <a16:creationId xmlns:a16="http://schemas.microsoft.com/office/drawing/2014/main" id="{366EAA13-7DE6-0E2C-E83D-AFB295EEA1B0}"/>
              </a:ext>
            </a:extLst>
          </p:cNvPr>
          <p:cNvPicPr>
            <a:picLocks noChangeAspect="1"/>
          </p:cNvPicPr>
          <p:nvPr userDrawn="1"/>
        </p:nvPicPr>
        <p:blipFill rotWithShape="1">
          <a:blip>
            <a:alphaModFix amt="11000"/>
            <a:extLst>
              <a:ext uri="{96DAC541-7B7A-43D3-8B79-37D633B846F1}">
                <asvg:svgBlip xmlns:asvg="http://schemas.microsoft.com/office/drawing/2016/SVG/main" r:embed="rId3"/>
              </a:ext>
            </a:extLst>
          </a:blip>
          <a:srcRect l="11972" t="15844" r="7803" b="24788"/>
          <a:stretch/>
        </p:blipFill>
        <p:spPr>
          <a:xfrm>
            <a:off x="1" y="1584960"/>
            <a:ext cx="12191999" cy="5273040"/>
          </a:xfrm>
          <a:custGeom>
            <a:avLst/>
            <a:gdLst>
              <a:gd name="connsiteX0" fmla="*/ 0 w 12191999"/>
              <a:gd name="connsiteY0" fmla="*/ 0 h 5273040"/>
              <a:gd name="connsiteX1" fmla="*/ 12191999 w 12191999"/>
              <a:gd name="connsiteY1" fmla="*/ 0 h 5273040"/>
              <a:gd name="connsiteX2" fmla="*/ 12191999 w 12191999"/>
              <a:gd name="connsiteY2" fmla="*/ 5273040 h 5273040"/>
              <a:gd name="connsiteX3" fmla="*/ 0 w 12191999"/>
              <a:gd name="connsiteY3" fmla="*/ 5273040 h 5273040"/>
            </a:gdLst>
            <a:ahLst/>
            <a:cxnLst>
              <a:cxn ang="0">
                <a:pos x="connsiteX0" y="connsiteY0"/>
              </a:cxn>
              <a:cxn ang="0">
                <a:pos x="connsiteX1" y="connsiteY1"/>
              </a:cxn>
              <a:cxn ang="0">
                <a:pos x="connsiteX2" y="connsiteY2"/>
              </a:cxn>
              <a:cxn ang="0">
                <a:pos x="connsiteX3" y="connsiteY3"/>
              </a:cxn>
            </a:cxnLst>
            <a:rect l="l" t="t" r="r" b="b"/>
            <a:pathLst>
              <a:path w="12191999" h="5273040">
                <a:moveTo>
                  <a:pt x="0" y="0"/>
                </a:moveTo>
                <a:lnTo>
                  <a:pt x="12191999" y="0"/>
                </a:lnTo>
                <a:lnTo>
                  <a:pt x="12191999" y="5273040"/>
                </a:lnTo>
                <a:lnTo>
                  <a:pt x="0" y="5273040"/>
                </a:lnTo>
                <a:close/>
              </a:path>
            </a:pathLst>
          </a:custGeom>
        </p:spPr>
      </p:pic>
      <p:sp>
        <p:nvSpPr>
          <p:cNvPr id="5" name="Free-form: Shape 23">
            <a:extLst>
              <a:ext uri="{FF2B5EF4-FFF2-40B4-BE49-F238E27FC236}">
                <a16:creationId xmlns:a16="http://schemas.microsoft.com/office/drawing/2014/main" id="{70678954-7BEA-EE1A-A9FF-FBBDCD77C5FB}"/>
              </a:ext>
            </a:extLst>
          </p:cNvPr>
          <p:cNvSpPr/>
          <p:nvPr userDrawn="1"/>
        </p:nvSpPr>
        <p:spPr>
          <a:xfrm rot="16200000">
            <a:off x="6600413" y="999955"/>
            <a:ext cx="5712642" cy="3712732"/>
          </a:xfrm>
          <a:custGeom>
            <a:avLst/>
            <a:gdLst>
              <a:gd name="connsiteX0" fmla="*/ 5712642 w 5712642"/>
              <a:gd name="connsiteY0" fmla="*/ 995345 h 3712732"/>
              <a:gd name="connsiteX1" fmla="*/ 5712642 w 5712642"/>
              <a:gd name="connsiteY1" fmla="*/ 2678302 h 3712732"/>
              <a:gd name="connsiteX2" fmla="*/ 5669855 w 5712642"/>
              <a:gd name="connsiteY2" fmla="*/ 2663784 h 3712732"/>
              <a:gd name="connsiteX3" fmla="*/ 3925662 w 5712642"/>
              <a:gd name="connsiteY3" fmla="*/ 2788339 h 3712732"/>
              <a:gd name="connsiteX4" fmla="*/ 3012034 w 5712642"/>
              <a:gd name="connsiteY4" fmla="*/ 3392390 h 3712732"/>
              <a:gd name="connsiteX5" fmla="*/ 1935320 w 5712642"/>
              <a:gd name="connsiteY5" fmla="*/ 3712732 h 3712732"/>
              <a:gd name="connsiteX6" fmla="*/ 0 w 5712642"/>
              <a:gd name="connsiteY6" fmla="*/ 1856353 h 3712732"/>
              <a:gd name="connsiteX7" fmla="*/ 1935320 w 5712642"/>
              <a:gd name="connsiteY7" fmla="*/ 0 h 3712732"/>
              <a:gd name="connsiteX8" fmla="*/ 3100679 w 5712642"/>
              <a:gd name="connsiteY8" fmla="*/ 375806 h 3712732"/>
              <a:gd name="connsiteX9" fmla="*/ 5014868 w 5712642"/>
              <a:gd name="connsiteY9" fmla="*/ 1124289 h 3712732"/>
              <a:gd name="connsiteX10" fmla="*/ 5518652 w 5712642"/>
              <a:gd name="connsiteY10" fmla="*/ 1052012 h 371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12642" h="3712732">
                <a:moveTo>
                  <a:pt x="5712642" y="995345"/>
                </a:moveTo>
                <a:lnTo>
                  <a:pt x="5712642" y="2678302"/>
                </a:lnTo>
                <a:lnTo>
                  <a:pt x="5669855" y="2663784"/>
                </a:lnTo>
                <a:cubicBezTo>
                  <a:pt x="5099670" y="2505815"/>
                  <a:pt x="4469854" y="2570466"/>
                  <a:pt x="3925662" y="2788339"/>
                </a:cubicBezTo>
                <a:cubicBezTo>
                  <a:pt x="3579160" y="2927128"/>
                  <a:pt x="3318280" y="3192980"/>
                  <a:pt x="3012034" y="3392390"/>
                </a:cubicBezTo>
                <a:cubicBezTo>
                  <a:pt x="2694314" y="3599597"/>
                  <a:pt x="2320554" y="3712732"/>
                  <a:pt x="1935320" y="3712732"/>
                </a:cubicBezTo>
                <a:cubicBezTo>
                  <a:pt x="866523" y="3712732"/>
                  <a:pt x="0" y="2881438"/>
                  <a:pt x="0" y="1856353"/>
                </a:cubicBezTo>
                <a:cubicBezTo>
                  <a:pt x="0" y="831063"/>
                  <a:pt x="866523" y="0"/>
                  <a:pt x="1935320" y="0"/>
                </a:cubicBezTo>
                <a:cubicBezTo>
                  <a:pt x="2345778" y="0"/>
                  <a:pt x="2779909" y="128296"/>
                  <a:pt x="3100679" y="375806"/>
                </a:cubicBezTo>
                <a:cubicBezTo>
                  <a:pt x="3671898" y="816876"/>
                  <a:pt x="4254323" y="1155305"/>
                  <a:pt x="5014868" y="1124289"/>
                </a:cubicBezTo>
                <a:cubicBezTo>
                  <a:pt x="5186207" y="1117324"/>
                  <a:pt x="5354487" y="1092140"/>
                  <a:pt x="5518652" y="1052012"/>
                </a:cubicBezTo>
                <a:close/>
              </a:path>
            </a:pathLst>
          </a:custGeom>
          <a:solidFill>
            <a:srgbClr val="FFFFFF"/>
          </a:solidFill>
          <a:ln w="6263" cap="flat">
            <a:solidFill>
              <a:srgbClr val="7600CE">
                <a:alpha val="10000"/>
              </a:srgbClr>
            </a:solidFill>
            <a:prstDash val="solid"/>
            <a:miter/>
          </a:ln>
          <a:effectLst>
            <a:outerShdw blurRad="368300" dist="25400" dir="2700000" algn="tl" rotWithShape="0">
              <a:schemeClr val="accent3">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Aft>
                <a:spcPts val="1500"/>
              </a:spcAft>
            </a:pPr>
            <a:endParaRPr lang="en-US" sz="2000">
              <a:solidFill>
                <a:srgbClr val="FFFFFF"/>
              </a:solidFill>
              <a:latin typeface="Segoe UI"/>
            </a:endParaRPr>
          </a:p>
        </p:txBody>
      </p:sp>
      <p:sp>
        <p:nvSpPr>
          <p:cNvPr id="8" name="Oval 7">
            <a:extLst>
              <a:ext uri="{FF2B5EF4-FFF2-40B4-BE49-F238E27FC236}">
                <a16:creationId xmlns:a16="http://schemas.microsoft.com/office/drawing/2014/main" id="{71E032F5-0F6E-716E-AA74-D14E70194504}"/>
              </a:ext>
              <a:ext uri="{C183D7F6-B498-43B3-948B-1728B52AA6E4}">
                <adec:decorative xmlns:adec="http://schemas.microsoft.com/office/drawing/2017/decorative" val="1"/>
              </a:ext>
            </a:extLst>
          </p:cNvPr>
          <p:cNvSpPr>
            <a:spLocks noChangeAspect="1"/>
          </p:cNvSpPr>
          <p:nvPr/>
        </p:nvSpPr>
        <p:spPr bwMode="auto">
          <a:xfrm>
            <a:off x="5991235" y="1639179"/>
            <a:ext cx="484178" cy="484178"/>
          </a:xfrm>
          <a:prstGeom prst="ellipse">
            <a:avLst/>
          </a:prstGeom>
          <a:solidFill>
            <a:schemeClr val="bg1"/>
          </a:solidFill>
          <a:ln>
            <a:solidFill>
              <a:schemeClr val="accent3">
                <a:lumMod val="75000"/>
              </a:schemeClr>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1600" b="1" err="1">
              <a:solidFill>
                <a:schemeClr val="tx1"/>
              </a:solidFill>
              <a:cs typeface="Segoe UI Semibold" panose="020B0702040204020203" pitchFamily="34" charset="0"/>
            </a:endParaRPr>
          </a:p>
        </p:txBody>
      </p:sp>
      <p:sp>
        <p:nvSpPr>
          <p:cNvPr id="11" name="Oval 10">
            <a:extLst>
              <a:ext uri="{FF2B5EF4-FFF2-40B4-BE49-F238E27FC236}">
                <a16:creationId xmlns:a16="http://schemas.microsoft.com/office/drawing/2014/main" id="{7598F1B7-0147-0616-A2E6-B783DA133358}"/>
              </a:ext>
            </a:extLst>
          </p:cNvPr>
          <p:cNvSpPr/>
          <p:nvPr userDrawn="1"/>
        </p:nvSpPr>
        <p:spPr bwMode="auto">
          <a:xfrm>
            <a:off x="7293155" y="1941880"/>
            <a:ext cx="4327158" cy="4327158"/>
          </a:xfrm>
          <a:prstGeom prst="ellipse">
            <a:avLst/>
          </a:prstGeom>
          <a:solidFill>
            <a:srgbClr val="FFFFFF"/>
          </a:solidFill>
          <a:ln w="6263" cap="flat">
            <a:solidFill>
              <a:srgbClr val="7600CE">
                <a:alpha val="10000"/>
              </a:srgbClr>
            </a:solidFill>
            <a:prstDash val="solid"/>
            <a:miter/>
          </a:ln>
          <a:effectLst>
            <a:outerShdw blurRad="368300" dist="25400" dir="2700000" algn="tl" rotWithShape="0">
              <a:schemeClr val="accent3">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Aft>
                <a:spcPts val="1500"/>
              </a:spcAft>
            </a:pPr>
            <a:endParaRPr lang="en-GB" sz="2000" err="1">
              <a:solidFill>
                <a:srgbClr val="FFFFFF"/>
              </a:solidFill>
              <a:latin typeface="Segoe UI"/>
            </a:endParaRPr>
          </a:p>
        </p:txBody>
      </p:sp>
      <p:sp>
        <p:nvSpPr>
          <p:cNvPr id="13" name="Rectangle: Top Corners Rounded 12">
            <a:extLst>
              <a:ext uri="{FF2B5EF4-FFF2-40B4-BE49-F238E27FC236}">
                <a16:creationId xmlns:a16="http://schemas.microsoft.com/office/drawing/2014/main" id="{34CF3CB4-0E06-D368-A625-76B35192F582}"/>
              </a:ext>
            </a:extLst>
          </p:cNvPr>
          <p:cNvSpPr/>
          <p:nvPr userDrawn="1"/>
        </p:nvSpPr>
        <p:spPr bwMode="auto">
          <a:xfrm rot="5400000">
            <a:off x="-351668" y="1779833"/>
            <a:ext cx="906206" cy="202871"/>
          </a:xfrm>
          <a:prstGeom prst="round2SameRect">
            <a:avLst>
              <a:gd name="adj1" fmla="val 50000"/>
              <a:gd name="adj2" fmla="val 0"/>
            </a:avLst>
          </a:prstGeom>
          <a:gradFill flip="none" rotWithShape="1">
            <a:gsLst>
              <a:gs pos="27000">
                <a:schemeClr val="accent3"/>
              </a:gs>
              <a:gs pos="0">
                <a:schemeClr val="accent3"/>
              </a:gs>
              <a:gs pos="100000">
                <a:srgbClr val="50E6FF">
                  <a:lumMod val="89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err="1">
              <a:solidFill>
                <a:schemeClr val="bg1"/>
              </a:solidFill>
              <a:latin typeface="+mj-lt"/>
              <a:cs typeface="Segoe Sans Text Light" pitchFamily="2" charset="0"/>
            </a:endParaRPr>
          </a:p>
        </p:txBody>
      </p:sp>
      <p:sp>
        <p:nvSpPr>
          <p:cNvPr id="14" name="Text Placeholder 43">
            <a:extLst>
              <a:ext uri="{FF2B5EF4-FFF2-40B4-BE49-F238E27FC236}">
                <a16:creationId xmlns:a16="http://schemas.microsoft.com/office/drawing/2014/main" id="{D754C83B-B061-2526-E766-49B02AD3FD9A}"/>
              </a:ext>
            </a:extLst>
          </p:cNvPr>
          <p:cNvSpPr>
            <a:spLocks noGrp="1"/>
          </p:cNvSpPr>
          <p:nvPr>
            <p:ph type="body" sz="quarter" idx="11" hasCustomPrompt="1"/>
          </p:nvPr>
        </p:nvSpPr>
        <p:spPr>
          <a:xfrm>
            <a:off x="584200" y="1696602"/>
            <a:ext cx="5245100" cy="369332"/>
          </a:xfrm>
        </p:spPr>
        <p:txBody>
          <a:bodyPr wrap="square" anchor="ctr">
            <a:spAutoFit/>
          </a:bodyPr>
          <a:lstStyle>
            <a:lvl1pPr marL="0" indent="0" algn="l">
              <a:buNone/>
              <a:defRPr sz="2400">
                <a:solidFill>
                  <a:schemeClr val="accent3"/>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15" name="Text Placeholder 43">
            <a:extLst>
              <a:ext uri="{FF2B5EF4-FFF2-40B4-BE49-F238E27FC236}">
                <a16:creationId xmlns:a16="http://schemas.microsoft.com/office/drawing/2014/main" id="{5B7E94BA-C1C6-494D-7AFC-87D331A19BE8}"/>
              </a:ext>
            </a:extLst>
          </p:cNvPr>
          <p:cNvSpPr>
            <a:spLocks noGrp="1"/>
          </p:cNvSpPr>
          <p:nvPr>
            <p:ph type="body" sz="quarter" idx="12" hasCustomPrompt="1"/>
          </p:nvPr>
        </p:nvSpPr>
        <p:spPr>
          <a:xfrm>
            <a:off x="584200" y="2350117"/>
            <a:ext cx="5245100" cy="1231106"/>
          </a:xfrm>
        </p:spPr>
        <p:txBody>
          <a:bodyPr wrap="square" anchor="t">
            <a:spAutoFit/>
          </a:bodyPr>
          <a:lstStyle>
            <a:lvl1pPr marL="228600" indent="-228600" algn="l">
              <a:spcBef>
                <a:spcPts val="0"/>
              </a:spcBef>
              <a:spcAft>
                <a:spcPts val="1200"/>
              </a:spcAft>
              <a:buSzPct val="100000"/>
              <a:buFont typeface="Arial" panose="020B0604020202020204" pitchFamily="34" charset="0"/>
              <a:buChar char="•"/>
              <a:defRPr sz="2000" b="0">
                <a:solidFill>
                  <a:schemeClr val="tx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a:p>
            <a:pPr marL="228600" marR="0" lvl="0" indent="-228600"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lang="en-US"/>
              <a:t>Click to add text</a:t>
            </a:r>
          </a:p>
          <a:p>
            <a:pPr marL="228600" marR="0" lvl="0" indent="-228600"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lang="en-US"/>
              <a:t>Click to add text</a:t>
            </a:r>
          </a:p>
        </p:txBody>
      </p:sp>
    </p:spTree>
    <p:custDataLst>
      <p:tags r:id="rId1"/>
    </p:custDataLst>
    <p:extLst>
      <p:ext uri="{BB962C8B-B14F-4D97-AF65-F5344CB8AC3E}">
        <p14:creationId xmlns:p14="http://schemas.microsoft.com/office/powerpoint/2010/main" val="41501312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with ico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wrap="square" lIns="0" tIns="0" rIns="0" bIns="0" rtlCol="0" anchor="t">
            <a:spAutoFit/>
          </a:bodyPr>
          <a:lstStyle>
            <a:lvl1pPr>
              <a:defRPr lang="en-US" spc="0" baseline="0">
                <a:latin typeface="+mj-lt"/>
                <a:cs typeface="Segoe Sans Text" pitchFamily="2" charset="0"/>
              </a:defRPr>
            </a:lvl1pPr>
          </a:lstStyle>
          <a:p>
            <a:pPr lvl="0"/>
            <a:r>
              <a:rPr lang="en-US"/>
              <a:t>Click to edit Master title style</a:t>
            </a:r>
          </a:p>
        </p:txBody>
      </p:sp>
      <p:pic>
        <p:nvPicPr>
          <p:cNvPr id="3" name="Graphic 2">
            <a:extLst>
              <a:ext uri="{FF2B5EF4-FFF2-40B4-BE49-F238E27FC236}">
                <a16:creationId xmlns:a16="http://schemas.microsoft.com/office/drawing/2014/main" id="{2A249E5D-AB00-451F-E602-6499D7B5D6F5}"/>
              </a:ext>
            </a:extLst>
          </p:cNvPr>
          <p:cNvPicPr>
            <a:picLocks noChangeAspect="1"/>
          </p:cNvPicPr>
          <p:nvPr userDrawn="1"/>
        </p:nvPicPr>
        <p:blipFill rotWithShape="1">
          <a:blip>
            <a:alphaModFix amt="23000"/>
            <a:extLst>
              <a:ext uri="{96DAC541-7B7A-43D3-8B79-37D633B846F1}">
                <asvg:svgBlip xmlns:asvg="http://schemas.microsoft.com/office/drawing/2016/SVG/main" r:embed="rId3"/>
              </a:ext>
            </a:extLst>
          </a:blip>
          <a:srcRect l="11972" t="15844" r="7803" b="24788"/>
          <a:stretch/>
        </p:blipFill>
        <p:spPr>
          <a:xfrm>
            <a:off x="1" y="1584960"/>
            <a:ext cx="12191999" cy="5273040"/>
          </a:xfrm>
          <a:custGeom>
            <a:avLst/>
            <a:gdLst>
              <a:gd name="connsiteX0" fmla="*/ 0 w 12191999"/>
              <a:gd name="connsiteY0" fmla="*/ 0 h 5273040"/>
              <a:gd name="connsiteX1" fmla="*/ 12191999 w 12191999"/>
              <a:gd name="connsiteY1" fmla="*/ 0 h 5273040"/>
              <a:gd name="connsiteX2" fmla="*/ 12191999 w 12191999"/>
              <a:gd name="connsiteY2" fmla="*/ 5273040 h 5273040"/>
              <a:gd name="connsiteX3" fmla="*/ 0 w 12191999"/>
              <a:gd name="connsiteY3" fmla="*/ 5273040 h 5273040"/>
            </a:gdLst>
            <a:ahLst/>
            <a:cxnLst>
              <a:cxn ang="0">
                <a:pos x="connsiteX0" y="connsiteY0"/>
              </a:cxn>
              <a:cxn ang="0">
                <a:pos x="connsiteX1" y="connsiteY1"/>
              </a:cxn>
              <a:cxn ang="0">
                <a:pos x="connsiteX2" y="connsiteY2"/>
              </a:cxn>
              <a:cxn ang="0">
                <a:pos x="connsiteX3" y="connsiteY3"/>
              </a:cxn>
            </a:cxnLst>
            <a:rect l="l" t="t" r="r" b="b"/>
            <a:pathLst>
              <a:path w="12191999" h="5273040">
                <a:moveTo>
                  <a:pt x="0" y="0"/>
                </a:moveTo>
                <a:lnTo>
                  <a:pt x="12191999" y="0"/>
                </a:lnTo>
                <a:lnTo>
                  <a:pt x="12191999" y="5273040"/>
                </a:lnTo>
                <a:lnTo>
                  <a:pt x="0" y="5273040"/>
                </a:lnTo>
                <a:close/>
              </a:path>
            </a:pathLst>
          </a:custGeom>
        </p:spPr>
      </p:pic>
      <p:sp>
        <p:nvSpPr>
          <p:cNvPr id="4" name="Free-form: Shape 66">
            <a:extLst>
              <a:ext uri="{FF2B5EF4-FFF2-40B4-BE49-F238E27FC236}">
                <a16:creationId xmlns:a16="http://schemas.microsoft.com/office/drawing/2014/main" id="{658E9695-D9BA-37E4-51D3-B964E21A9B7F}"/>
              </a:ext>
            </a:extLst>
          </p:cNvPr>
          <p:cNvSpPr/>
          <p:nvPr userDrawn="1"/>
        </p:nvSpPr>
        <p:spPr bwMode="auto">
          <a:xfrm rot="20700000">
            <a:off x="7552095" y="2781186"/>
            <a:ext cx="5198325" cy="4543493"/>
          </a:xfrm>
          <a:custGeom>
            <a:avLst/>
            <a:gdLst>
              <a:gd name="connsiteX0" fmla="*/ 4347961 w 5198325"/>
              <a:gd name="connsiteY0" fmla="*/ 109538 h 4543493"/>
              <a:gd name="connsiteX1" fmla="*/ 5146109 w 5198325"/>
              <a:gd name="connsiteY1" fmla="*/ 424970 h 4543493"/>
              <a:gd name="connsiteX2" fmla="*/ 5198325 w 5198325"/>
              <a:gd name="connsiteY2" fmla="*/ 456370 h 4543493"/>
              <a:gd name="connsiteX3" fmla="*/ 4103183 w 5198325"/>
              <a:gd name="connsiteY3" fmla="*/ 4543493 h 4543493"/>
              <a:gd name="connsiteX4" fmla="*/ 0 w 5198325"/>
              <a:gd name="connsiteY4" fmla="*/ 3444048 h 4543493"/>
              <a:gd name="connsiteX5" fmla="*/ 3635 w 5198325"/>
              <a:gd name="connsiteY5" fmla="*/ 3300272 h 4543493"/>
              <a:gd name="connsiteX6" fmla="*/ 3478425 w 5198325"/>
              <a:gd name="connsiteY6" fmla="*/ 0 h 4543493"/>
              <a:gd name="connsiteX7" fmla="*/ 4347961 w 5198325"/>
              <a:gd name="connsiteY7" fmla="*/ 109538 h 4543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325" h="4543493">
                <a:moveTo>
                  <a:pt x="4347961" y="109538"/>
                </a:moveTo>
                <a:cubicBezTo>
                  <a:pt x="4629362" y="181939"/>
                  <a:pt x="4896987" y="288659"/>
                  <a:pt x="5146109" y="424970"/>
                </a:cubicBezTo>
                <a:lnTo>
                  <a:pt x="5198325" y="456370"/>
                </a:lnTo>
                <a:lnTo>
                  <a:pt x="4103183" y="4543493"/>
                </a:lnTo>
                <a:lnTo>
                  <a:pt x="0" y="3444048"/>
                </a:lnTo>
                <a:lnTo>
                  <a:pt x="3635" y="3300272"/>
                </a:lnTo>
                <a:cubicBezTo>
                  <a:pt x="96823" y="1461905"/>
                  <a:pt x="1616901" y="0"/>
                  <a:pt x="3478425" y="0"/>
                </a:cubicBezTo>
                <a:cubicBezTo>
                  <a:pt x="3778671" y="0"/>
                  <a:pt x="4070034" y="38031"/>
                  <a:pt x="4347961" y="109538"/>
                </a:cubicBezTo>
                <a:close/>
              </a:path>
            </a:pathLst>
          </a:custGeom>
          <a:solidFill>
            <a:schemeClr val="accent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err="1">
              <a:solidFill>
                <a:srgbClr val="FFFFFF"/>
              </a:solidFill>
              <a:cs typeface="Segoe UI" pitchFamily="34" charset="0"/>
            </a:endParaRPr>
          </a:p>
        </p:txBody>
      </p:sp>
      <p:sp>
        <p:nvSpPr>
          <p:cNvPr id="6" name="Oval 5">
            <a:extLst>
              <a:ext uri="{FF2B5EF4-FFF2-40B4-BE49-F238E27FC236}">
                <a16:creationId xmlns:a16="http://schemas.microsoft.com/office/drawing/2014/main" id="{6BA86758-BE78-CDD3-57B4-0BBEBA257118}"/>
              </a:ext>
            </a:extLst>
          </p:cNvPr>
          <p:cNvSpPr/>
          <p:nvPr/>
        </p:nvSpPr>
        <p:spPr bwMode="auto">
          <a:xfrm>
            <a:off x="7173065" y="1611138"/>
            <a:ext cx="4286063" cy="4286063"/>
          </a:xfrm>
          <a:prstGeom prst="ellipse">
            <a:avLst/>
          </a:prstGeom>
          <a:solidFill>
            <a:srgbClr val="FFFFFF"/>
          </a:solidFill>
          <a:ln w="6263" cap="flat">
            <a:solidFill>
              <a:srgbClr val="7600CE">
                <a:alpha val="10000"/>
              </a:srgbClr>
            </a:solidFill>
            <a:prstDash val="solid"/>
            <a:miter/>
          </a:ln>
          <a:effectLst>
            <a:outerShdw blurRad="368300" dist="25400" dir="2700000" algn="tl" rotWithShape="0">
              <a:schemeClr val="accent3">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Aft>
                <a:spcPts val="1500"/>
              </a:spcAft>
            </a:pPr>
            <a:endParaRPr lang="en-GB" sz="2000" err="1">
              <a:solidFill>
                <a:srgbClr val="FFFFFF"/>
              </a:solidFill>
              <a:latin typeface="Segoe UI"/>
            </a:endParaRPr>
          </a:p>
        </p:txBody>
      </p:sp>
      <p:sp>
        <p:nvSpPr>
          <p:cNvPr id="10" name="Free-form: Shape 59">
            <a:extLst>
              <a:ext uri="{FF2B5EF4-FFF2-40B4-BE49-F238E27FC236}">
                <a16:creationId xmlns:a16="http://schemas.microsoft.com/office/drawing/2014/main" id="{5857186A-E43C-99B6-DF3C-5691ECA33EB6}"/>
              </a:ext>
            </a:extLst>
          </p:cNvPr>
          <p:cNvSpPr/>
          <p:nvPr userDrawn="1"/>
        </p:nvSpPr>
        <p:spPr bwMode="auto">
          <a:xfrm>
            <a:off x="0" y="0"/>
            <a:ext cx="6018223" cy="6858001"/>
          </a:xfrm>
          <a:custGeom>
            <a:avLst/>
            <a:gdLst>
              <a:gd name="connsiteX0" fmla="*/ 0 w 6018223"/>
              <a:gd name="connsiteY0" fmla="*/ 0 h 6858001"/>
              <a:gd name="connsiteX1" fmla="*/ 126206 w 6018223"/>
              <a:gd name="connsiteY1" fmla="*/ 0 h 6858001"/>
              <a:gd name="connsiteX2" fmla="*/ 126206 w 6018223"/>
              <a:gd name="connsiteY2" fmla="*/ 1361514 h 6858001"/>
              <a:gd name="connsiteX3" fmla="*/ 132062 w 6018223"/>
              <a:gd name="connsiteY3" fmla="*/ 1419592 h 6858001"/>
              <a:gd name="connsiteX4" fmla="*/ 466001 w 6018223"/>
              <a:gd name="connsiteY4" fmla="*/ 1691702 h 6858001"/>
              <a:gd name="connsiteX5" fmla="*/ 5878212 w 6018223"/>
              <a:gd name="connsiteY5" fmla="*/ 1691702 h 6858001"/>
              <a:gd name="connsiteX6" fmla="*/ 6018223 w 6018223"/>
              <a:gd name="connsiteY6" fmla="*/ 1831713 h 6858001"/>
              <a:gd name="connsiteX7" fmla="*/ 6018223 w 6018223"/>
              <a:gd name="connsiteY7" fmla="*/ 5769399 h 6858001"/>
              <a:gd name="connsiteX8" fmla="*/ 5878212 w 6018223"/>
              <a:gd name="connsiteY8" fmla="*/ 5909410 h 6858001"/>
              <a:gd name="connsiteX9" fmla="*/ 466001 w 6018223"/>
              <a:gd name="connsiteY9" fmla="*/ 5909410 h 6858001"/>
              <a:gd name="connsiteX10" fmla="*/ 132062 w 6018223"/>
              <a:gd name="connsiteY10" fmla="*/ 6181521 h 6858001"/>
              <a:gd name="connsiteX11" fmla="*/ 126206 w 6018223"/>
              <a:gd name="connsiteY11" fmla="*/ 6239598 h 6858001"/>
              <a:gd name="connsiteX12" fmla="*/ 126206 w 6018223"/>
              <a:gd name="connsiteY12" fmla="*/ 6858001 h 6858001"/>
              <a:gd name="connsiteX13" fmla="*/ 0 w 6018223"/>
              <a:gd name="connsiteY13" fmla="*/ 6858001 h 6858001"/>
              <a:gd name="connsiteX14" fmla="*/ 0 w 6018223"/>
              <a:gd name="connsiteY14" fmla="*/ 6428595 h 6858001"/>
              <a:gd name="connsiteX15" fmla="*/ 0 w 6018223"/>
              <a:gd name="connsiteY15" fmla="*/ 5093281 h 6858001"/>
              <a:gd name="connsiteX16" fmla="*/ 0 w 6018223"/>
              <a:gd name="connsiteY16" fmla="*/ 2507831 h 6858001"/>
              <a:gd name="connsiteX17" fmla="*/ 0 w 6018223"/>
              <a:gd name="connsiteY17" fmla="*/ 117251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18223" h="6858001">
                <a:moveTo>
                  <a:pt x="0" y="0"/>
                </a:moveTo>
                <a:lnTo>
                  <a:pt x="126206" y="0"/>
                </a:lnTo>
                <a:lnTo>
                  <a:pt x="126206" y="1361514"/>
                </a:lnTo>
                <a:lnTo>
                  <a:pt x="132062" y="1419592"/>
                </a:lnTo>
                <a:cubicBezTo>
                  <a:pt x="163847" y="1574902"/>
                  <a:pt x="301286" y="1691702"/>
                  <a:pt x="466001" y="1691702"/>
                </a:cubicBezTo>
                <a:lnTo>
                  <a:pt x="5878212" y="1691702"/>
                </a:lnTo>
                <a:cubicBezTo>
                  <a:pt x="5955538" y="1691702"/>
                  <a:pt x="6018223" y="1754387"/>
                  <a:pt x="6018223" y="1831713"/>
                </a:cubicBezTo>
                <a:lnTo>
                  <a:pt x="6018223" y="5769399"/>
                </a:lnTo>
                <a:cubicBezTo>
                  <a:pt x="6018223" y="5846725"/>
                  <a:pt x="5955538" y="5909410"/>
                  <a:pt x="5878212" y="5909410"/>
                </a:cubicBezTo>
                <a:lnTo>
                  <a:pt x="466001" y="5909410"/>
                </a:lnTo>
                <a:cubicBezTo>
                  <a:pt x="301286" y="5909410"/>
                  <a:pt x="163847" y="6026211"/>
                  <a:pt x="132062" y="6181521"/>
                </a:cubicBezTo>
                <a:lnTo>
                  <a:pt x="126206" y="6239598"/>
                </a:lnTo>
                <a:lnTo>
                  <a:pt x="126206" y="6858001"/>
                </a:lnTo>
                <a:lnTo>
                  <a:pt x="0" y="6858001"/>
                </a:lnTo>
                <a:lnTo>
                  <a:pt x="0" y="6428595"/>
                </a:lnTo>
                <a:lnTo>
                  <a:pt x="0" y="5093281"/>
                </a:lnTo>
                <a:lnTo>
                  <a:pt x="0" y="2507831"/>
                </a:lnTo>
                <a:lnTo>
                  <a:pt x="0" y="1172517"/>
                </a:lnTo>
                <a:close/>
              </a:path>
            </a:pathLst>
          </a:cu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3">
                <a:alpha val="15000"/>
              </a:schemeClr>
            </a:outerShdw>
          </a:effectLst>
        </p:spPr>
        <p:txBody>
          <a:bodyPr wrap="square" rtlCol="0" anchor="ctr">
            <a:noAutofit/>
          </a:bodyPr>
          <a:lstStyle/>
          <a:p>
            <a:endParaRPr lang="en-GB" err="1">
              <a:solidFill>
                <a:schemeClr val="tx1"/>
              </a:solidFill>
            </a:endParaRPr>
          </a:p>
        </p:txBody>
      </p:sp>
      <p:sp>
        <p:nvSpPr>
          <p:cNvPr id="13" name="Text Placeholder 43">
            <a:extLst>
              <a:ext uri="{FF2B5EF4-FFF2-40B4-BE49-F238E27FC236}">
                <a16:creationId xmlns:a16="http://schemas.microsoft.com/office/drawing/2014/main" id="{497FE6A8-26BC-684A-544A-8CFD06260EFC}"/>
              </a:ext>
            </a:extLst>
          </p:cNvPr>
          <p:cNvSpPr>
            <a:spLocks noGrp="1"/>
          </p:cNvSpPr>
          <p:nvPr>
            <p:ph type="body" sz="quarter" idx="11" hasCustomPrompt="1"/>
          </p:nvPr>
        </p:nvSpPr>
        <p:spPr>
          <a:xfrm>
            <a:off x="588263" y="1980785"/>
            <a:ext cx="5156899" cy="369332"/>
          </a:xfrm>
        </p:spPr>
        <p:txBody>
          <a:bodyPr wrap="square" anchor="ctr">
            <a:spAutoFit/>
          </a:bodyPr>
          <a:lstStyle>
            <a:lvl1pPr marL="0" indent="0" algn="l">
              <a:buNone/>
              <a:defRPr sz="2400">
                <a:solidFill>
                  <a:schemeClr val="accent3"/>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14" name="Text Placeholder 43">
            <a:extLst>
              <a:ext uri="{FF2B5EF4-FFF2-40B4-BE49-F238E27FC236}">
                <a16:creationId xmlns:a16="http://schemas.microsoft.com/office/drawing/2014/main" id="{8E568C86-16D9-91C3-8AEF-A81B51F381ED}"/>
              </a:ext>
            </a:extLst>
          </p:cNvPr>
          <p:cNvSpPr>
            <a:spLocks noGrp="1"/>
          </p:cNvSpPr>
          <p:nvPr>
            <p:ph type="body" sz="quarter" idx="12" hasCustomPrompt="1"/>
          </p:nvPr>
        </p:nvSpPr>
        <p:spPr>
          <a:xfrm>
            <a:off x="588263" y="2554543"/>
            <a:ext cx="5156899" cy="1231106"/>
          </a:xfrm>
        </p:spPr>
        <p:txBody>
          <a:bodyPr wrap="square" anchor="t">
            <a:spAutoFit/>
          </a:bodyPr>
          <a:lstStyle>
            <a:lvl1pPr marL="228600" indent="-228600" algn="l">
              <a:spcBef>
                <a:spcPts val="0"/>
              </a:spcBef>
              <a:spcAft>
                <a:spcPts val="1200"/>
              </a:spcAft>
              <a:buSzPct val="100000"/>
              <a:buFont typeface="Arial" panose="020B0604020202020204" pitchFamily="34" charset="0"/>
              <a:buChar char="•"/>
              <a:defRPr sz="2000" b="0">
                <a:solidFill>
                  <a:schemeClr val="tx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a:p>
            <a:pPr marL="228600" marR="0" lvl="0" indent="-228600"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lang="en-US"/>
              <a:t>Click to add text</a:t>
            </a:r>
          </a:p>
          <a:p>
            <a:pPr marL="228600" marR="0" lvl="0" indent="-228600"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lang="en-US"/>
              <a:t>Click to add text</a:t>
            </a:r>
          </a:p>
        </p:txBody>
      </p:sp>
    </p:spTree>
    <p:custDataLst>
      <p:tags r:id="rId1"/>
    </p:custDataLst>
    <p:extLst>
      <p:ext uri="{BB962C8B-B14F-4D97-AF65-F5344CB8AC3E}">
        <p14:creationId xmlns:p14="http://schemas.microsoft.com/office/powerpoint/2010/main" val="15818236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with icon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vert="horz" wrap="square" lIns="0" tIns="0" rIns="0" bIns="0" rtlCol="0" anchor="t">
            <a:spAutoFit/>
          </a:bodyPr>
          <a:lstStyle>
            <a:lvl1pPr>
              <a:defRPr lang="en-US" spc="0" baseline="0">
                <a:latin typeface="+mj-lt"/>
                <a:cs typeface="Segoe Sans Text" pitchFamily="2" charset="0"/>
              </a:defRPr>
            </a:lvl1pPr>
          </a:lstStyle>
          <a:p>
            <a:pPr lvl="0"/>
            <a:r>
              <a:rPr lang="en-US"/>
              <a:t>Click to edit Master title style</a:t>
            </a:r>
          </a:p>
        </p:txBody>
      </p:sp>
      <p:sp>
        <p:nvSpPr>
          <p:cNvPr id="3" name="Rectangle: Top Corners Rounded 2">
            <a:extLst>
              <a:ext uri="{FF2B5EF4-FFF2-40B4-BE49-F238E27FC236}">
                <a16:creationId xmlns:a16="http://schemas.microsoft.com/office/drawing/2014/main" id="{EBD527A9-2898-0894-57A8-E52D97D8996D}"/>
              </a:ext>
            </a:extLst>
          </p:cNvPr>
          <p:cNvSpPr/>
          <p:nvPr userDrawn="1"/>
        </p:nvSpPr>
        <p:spPr bwMode="auto">
          <a:xfrm rot="5400000">
            <a:off x="2954418" y="-1392157"/>
            <a:ext cx="638012" cy="6546849"/>
          </a:xfrm>
          <a:prstGeom prst="round2SameRect">
            <a:avLst>
              <a:gd name="adj1" fmla="val 50000"/>
              <a:gd name="adj2" fmla="val 0"/>
            </a:avLst>
          </a:prstGeom>
          <a:solidFill>
            <a:schemeClr val="accent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accent3"/>
              </a:solidFill>
              <a:cs typeface="Segoe UI" pitchFamily="34" charset="0"/>
            </a:endParaRPr>
          </a:p>
        </p:txBody>
      </p:sp>
      <p:pic>
        <p:nvPicPr>
          <p:cNvPr id="4" name="Graphic 3">
            <a:extLst>
              <a:ext uri="{FF2B5EF4-FFF2-40B4-BE49-F238E27FC236}">
                <a16:creationId xmlns:a16="http://schemas.microsoft.com/office/drawing/2014/main" id="{AE40C47A-A686-3D7D-856B-EC0D3E50997D}"/>
              </a:ext>
            </a:extLst>
          </p:cNvPr>
          <p:cNvPicPr>
            <a:picLocks noChangeAspect="1"/>
          </p:cNvPicPr>
          <p:nvPr userDrawn="1"/>
        </p:nvPicPr>
        <p:blipFill rotWithShape="1">
          <a:blip>
            <a:alphaModFix amt="11000"/>
            <a:extLst>
              <a:ext uri="{96DAC541-7B7A-43D3-8B79-37D633B846F1}">
                <asvg:svgBlip xmlns:asvg="http://schemas.microsoft.com/office/drawing/2016/SVG/main" r:embed="rId3"/>
              </a:ext>
            </a:extLst>
          </a:blip>
          <a:srcRect l="11972" t="15844" r="7803" b="24788"/>
          <a:stretch/>
        </p:blipFill>
        <p:spPr>
          <a:xfrm>
            <a:off x="1" y="1584960"/>
            <a:ext cx="12191999" cy="5273040"/>
          </a:xfrm>
          <a:custGeom>
            <a:avLst/>
            <a:gdLst>
              <a:gd name="connsiteX0" fmla="*/ 0 w 12191999"/>
              <a:gd name="connsiteY0" fmla="*/ 0 h 5273040"/>
              <a:gd name="connsiteX1" fmla="*/ 12191999 w 12191999"/>
              <a:gd name="connsiteY1" fmla="*/ 0 h 5273040"/>
              <a:gd name="connsiteX2" fmla="*/ 12191999 w 12191999"/>
              <a:gd name="connsiteY2" fmla="*/ 5273040 h 5273040"/>
              <a:gd name="connsiteX3" fmla="*/ 0 w 12191999"/>
              <a:gd name="connsiteY3" fmla="*/ 5273040 h 5273040"/>
            </a:gdLst>
            <a:ahLst/>
            <a:cxnLst>
              <a:cxn ang="0">
                <a:pos x="connsiteX0" y="connsiteY0"/>
              </a:cxn>
              <a:cxn ang="0">
                <a:pos x="connsiteX1" y="connsiteY1"/>
              </a:cxn>
              <a:cxn ang="0">
                <a:pos x="connsiteX2" y="connsiteY2"/>
              </a:cxn>
              <a:cxn ang="0">
                <a:pos x="connsiteX3" y="connsiteY3"/>
              </a:cxn>
            </a:cxnLst>
            <a:rect l="l" t="t" r="r" b="b"/>
            <a:pathLst>
              <a:path w="12191999" h="5273040">
                <a:moveTo>
                  <a:pt x="0" y="0"/>
                </a:moveTo>
                <a:lnTo>
                  <a:pt x="12191999" y="0"/>
                </a:lnTo>
                <a:lnTo>
                  <a:pt x="12191999" y="5273040"/>
                </a:lnTo>
                <a:lnTo>
                  <a:pt x="0" y="5273040"/>
                </a:lnTo>
                <a:close/>
              </a:path>
            </a:pathLst>
          </a:custGeom>
        </p:spPr>
      </p:pic>
      <p:sp>
        <p:nvSpPr>
          <p:cNvPr id="5" name="Free-form: Shape 4">
            <a:extLst>
              <a:ext uri="{FF2B5EF4-FFF2-40B4-BE49-F238E27FC236}">
                <a16:creationId xmlns:a16="http://schemas.microsoft.com/office/drawing/2014/main" id="{48B8AF2B-EF6A-EAFE-D002-AD82736FB6D3}"/>
              </a:ext>
            </a:extLst>
          </p:cNvPr>
          <p:cNvSpPr/>
          <p:nvPr userDrawn="1"/>
        </p:nvSpPr>
        <p:spPr>
          <a:xfrm rot="16200000">
            <a:off x="6600413" y="999955"/>
            <a:ext cx="5712642" cy="3712732"/>
          </a:xfrm>
          <a:custGeom>
            <a:avLst/>
            <a:gdLst>
              <a:gd name="connsiteX0" fmla="*/ 5712642 w 5712642"/>
              <a:gd name="connsiteY0" fmla="*/ 995345 h 3712732"/>
              <a:gd name="connsiteX1" fmla="*/ 5712642 w 5712642"/>
              <a:gd name="connsiteY1" fmla="*/ 2678302 h 3712732"/>
              <a:gd name="connsiteX2" fmla="*/ 5669855 w 5712642"/>
              <a:gd name="connsiteY2" fmla="*/ 2663784 h 3712732"/>
              <a:gd name="connsiteX3" fmla="*/ 3925662 w 5712642"/>
              <a:gd name="connsiteY3" fmla="*/ 2788339 h 3712732"/>
              <a:gd name="connsiteX4" fmla="*/ 3012034 w 5712642"/>
              <a:gd name="connsiteY4" fmla="*/ 3392390 h 3712732"/>
              <a:gd name="connsiteX5" fmla="*/ 1935320 w 5712642"/>
              <a:gd name="connsiteY5" fmla="*/ 3712732 h 3712732"/>
              <a:gd name="connsiteX6" fmla="*/ 0 w 5712642"/>
              <a:gd name="connsiteY6" fmla="*/ 1856353 h 3712732"/>
              <a:gd name="connsiteX7" fmla="*/ 1935320 w 5712642"/>
              <a:gd name="connsiteY7" fmla="*/ 0 h 3712732"/>
              <a:gd name="connsiteX8" fmla="*/ 3100679 w 5712642"/>
              <a:gd name="connsiteY8" fmla="*/ 375806 h 3712732"/>
              <a:gd name="connsiteX9" fmla="*/ 5014868 w 5712642"/>
              <a:gd name="connsiteY9" fmla="*/ 1124289 h 3712732"/>
              <a:gd name="connsiteX10" fmla="*/ 5518652 w 5712642"/>
              <a:gd name="connsiteY10" fmla="*/ 1052012 h 371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12642" h="3712732">
                <a:moveTo>
                  <a:pt x="5712642" y="995345"/>
                </a:moveTo>
                <a:lnTo>
                  <a:pt x="5712642" y="2678302"/>
                </a:lnTo>
                <a:lnTo>
                  <a:pt x="5669855" y="2663784"/>
                </a:lnTo>
                <a:cubicBezTo>
                  <a:pt x="5099670" y="2505815"/>
                  <a:pt x="4469854" y="2570466"/>
                  <a:pt x="3925662" y="2788339"/>
                </a:cubicBezTo>
                <a:cubicBezTo>
                  <a:pt x="3579160" y="2927128"/>
                  <a:pt x="3318280" y="3192980"/>
                  <a:pt x="3012034" y="3392390"/>
                </a:cubicBezTo>
                <a:cubicBezTo>
                  <a:pt x="2694314" y="3599597"/>
                  <a:pt x="2320554" y="3712732"/>
                  <a:pt x="1935320" y="3712732"/>
                </a:cubicBezTo>
                <a:cubicBezTo>
                  <a:pt x="866523" y="3712732"/>
                  <a:pt x="0" y="2881438"/>
                  <a:pt x="0" y="1856353"/>
                </a:cubicBezTo>
                <a:cubicBezTo>
                  <a:pt x="0" y="831063"/>
                  <a:pt x="866523" y="0"/>
                  <a:pt x="1935320" y="0"/>
                </a:cubicBezTo>
                <a:cubicBezTo>
                  <a:pt x="2345778" y="0"/>
                  <a:pt x="2779909" y="128296"/>
                  <a:pt x="3100679" y="375806"/>
                </a:cubicBezTo>
                <a:cubicBezTo>
                  <a:pt x="3671898" y="816876"/>
                  <a:pt x="4254323" y="1155305"/>
                  <a:pt x="5014868" y="1124289"/>
                </a:cubicBezTo>
                <a:cubicBezTo>
                  <a:pt x="5186207" y="1117324"/>
                  <a:pt x="5354487" y="1092140"/>
                  <a:pt x="5518652" y="1052012"/>
                </a:cubicBezTo>
                <a:close/>
              </a:path>
            </a:pathLst>
          </a:custGeom>
          <a:solidFill>
            <a:srgbClr val="FFFFFF"/>
          </a:solidFill>
          <a:ln w="6263" cap="flat">
            <a:solidFill>
              <a:schemeClr val="accent3">
                <a:alpha val="10000"/>
              </a:schemeClr>
            </a:solidFill>
            <a:prstDash val="solid"/>
            <a:miter/>
          </a:ln>
          <a:effectLst>
            <a:outerShdw blurRad="368300" dist="25400" dir="2700000" algn="tl" rotWithShape="0">
              <a:schemeClr val="accent3">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Aft>
                <a:spcPts val="1500"/>
              </a:spcAft>
            </a:pPr>
            <a:endParaRPr lang="en-US" sz="2000">
              <a:solidFill>
                <a:srgbClr val="FFFFFF"/>
              </a:solidFill>
              <a:latin typeface="Segoe UI"/>
            </a:endParaRPr>
          </a:p>
        </p:txBody>
      </p:sp>
      <p:sp>
        <p:nvSpPr>
          <p:cNvPr id="8" name="Oval 7">
            <a:extLst>
              <a:ext uri="{FF2B5EF4-FFF2-40B4-BE49-F238E27FC236}">
                <a16:creationId xmlns:a16="http://schemas.microsoft.com/office/drawing/2014/main" id="{ADD04747-E2A4-E74D-3A3C-211BA6D602AE}"/>
              </a:ext>
              <a:ext uri="{C183D7F6-B498-43B3-948B-1728B52AA6E4}">
                <adec:decorative xmlns:adec="http://schemas.microsoft.com/office/drawing/2017/decorative" val="1"/>
              </a:ext>
            </a:extLst>
          </p:cNvPr>
          <p:cNvSpPr>
            <a:spLocks noChangeAspect="1"/>
          </p:cNvSpPr>
          <p:nvPr/>
        </p:nvSpPr>
        <p:spPr bwMode="auto">
          <a:xfrm>
            <a:off x="5991235" y="1639179"/>
            <a:ext cx="484178" cy="484178"/>
          </a:xfrm>
          <a:prstGeom prst="ellipse">
            <a:avLst/>
          </a:prstGeom>
          <a:solidFill>
            <a:schemeClr val="bg1"/>
          </a:solidFill>
          <a:ln>
            <a:solidFill>
              <a:schemeClr val="accent3">
                <a:lumMod val="75000"/>
              </a:schemeClr>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1600" b="1" err="1">
              <a:solidFill>
                <a:schemeClr val="tx1"/>
              </a:solidFill>
              <a:cs typeface="Segoe UI Semibold" panose="020B0702040204020203" pitchFamily="34" charset="0"/>
            </a:endParaRPr>
          </a:p>
        </p:txBody>
      </p:sp>
      <p:sp>
        <p:nvSpPr>
          <p:cNvPr id="11" name="Oval 10">
            <a:extLst>
              <a:ext uri="{FF2B5EF4-FFF2-40B4-BE49-F238E27FC236}">
                <a16:creationId xmlns:a16="http://schemas.microsoft.com/office/drawing/2014/main" id="{2DEE9E65-3387-D846-E98D-F7DBC12D9898}"/>
              </a:ext>
            </a:extLst>
          </p:cNvPr>
          <p:cNvSpPr/>
          <p:nvPr userDrawn="1"/>
        </p:nvSpPr>
        <p:spPr bwMode="auto">
          <a:xfrm>
            <a:off x="7293155" y="1941880"/>
            <a:ext cx="4327158" cy="4327158"/>
          </a:xfrm>
          <a:prstGeom prst="ellipse">
            <a:avLst/>
          </a:prstGeom>
          <a:solidFill>
            <a:srgbClr val="FFFFFF"/>
          </a:solidFill>
          <a:ln w="6263" cap="flat">
            <a:solidFill>
              <a:schemeClr val="accent3">
                <a:alpha val="10000"/>
              </a:schemeClr>
            </a:solidFill>
            <a:prstDash val="solid"/>
            <a:miter/>
          </a:ln>
          <a:effectLst>
            <a:outerShdw blurRad="368300" dist="25400" dir="2700000" algn="tl" rotWithShape="0">
              <a:schemeClr val="accent3">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Aft>
                <a:spcPts val="1500"/>
              </a:spcAft>
            </a:pPr>
            <a:endParaRPr lang="en-GB" sz="2000">
              <a:solidFill>
                <a:srgbClr val="FFFFFF"/>
              </a:solidFill>
              <a:latin typeface="Segoe UI"/>
            </a:endParaRPr>
          </a:p>
        </p:txBody>
      </p:sp>
      <p:sp>
        <p:nvSpPr>
          <p:cNvPr id="12" name="Rectangle: Top Corners Rounded 11">
            <a:extLst>
              <a:ext uri="{FF2B5EF4-FFF2-40B4-BE49-F238E27FC236}">
                <a16:creationId xmlns:a16="http://schemas.microsoft.com/office/drawing/2014/main" id="{B6238147-7800-FA81-BE8B-E914720573CF}"/>
              </a:ext>
            </a:extLst>
          </p:cNvPr>
          <p:cNvSpPr/>
          <p:nvPr userDrawn="1"/>
        </p:nvSpPr>
        <p:spPr bwMode="auto">
          <a:xfrm rot="5400000">
            <a:off x="-351668" y="1779833"/>
            <a:ext cx="906206" cy="202871"/>
          </a:xfrm>
          <a:prstGeom prst="round2SameRect">
            <a:avLst>
              <a:gd name="adj1" fmla="val 50000"/>
              <a:gd name="adj2" fmla="val 0"/>
            </a:avLst>
          </a:prstGeom>
          <a:gradFill flip="none" rotWithShape="1">
            <a:gsLst>
              <a:gs pos="27000">
                <a:schemeClr val="accent3"/>
              </a:gs>
              <a:gs pos="0">
                <a:schemeClr val="accent3"/>
              </a:gs>
              <a:gs pos="100000">
                <a:srgbClr val="50E6FF">
                  <a:lumMod val="89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err="1">
              <a:solidFill>
                <a:schemeClr val="bg1"/>
              </a:solidFill>
              <a:latin typeface="+mj-lt"/>
              <a:cs typeface="Segoe Sans Text Light" pitchFamily="2" charset="0"/>
            </a:endParaRPr>
          </a:p>
        </p:txBody>
      </p:sp>
      <p:sp>
        <p:nvSpPr>
          <p:cNvPr id="14" name="Text Placeholder 43">
            <a:extLst>
              <a:ext uri="{FF2B5EF4-FFF2-40B4-BE49-F238E27FC236}">
                <a16:creationId xmlns:a16="http://schemas.microsoft.com/office/drawing/2014/main" id="{08B0D3CE-1159-39D0-9436-EAD5E1506061}"/>
              </a:ext>
            </a:extLst>
          </p:cNvPr>
          <p:cNvSpPr>
            <a:spLocks noGrp="1"/>
          </p:cNvSpPr>
          <p:nvPr>
            <p:ph type="body" sz="quarter" idx="11" hasCustomPrompt="1"/>
          </p:nvPr>
        </p:nvSpPr>
        <p:spPr>
          <a:xfrm>
            <a:off x="588263" y="1696602"/>
            <a:ext cx="5379160" cy="369332"/>
          </a:xfrm>
        </p:spPr>
        <p:txBody>
          <a:bodyPr wrap="square" anchor="ctr">
            <a:spAutoFit/>
          </a:bodyPr>
          <a:lstStyle>
            <a:lvl1pPr marL="0" indent="0" algn="l">
              <a:buNone/>
              <a:defRPr sz="2400" b="0">
                <a:solidFill>
                  <a:schemeClr val="accent3"/>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22" name="Text Placeholder 21">
            <a:extLst>
              <a:ext uri="{FF2B5EF4-FFF2-40B4-BE49-F238E27FC236}">
                <a16:creationId xmlns:a16="http://schemas.microsoft.com/office/drawing/2014/main" id="{E8061E92-B245-8B89-53B5-64F4C2DEA3C1}"/>
              </a:ext>
            </a:extLst>
          </p:cNvPr>
          <p:cNvSpPr>
            <a:spLocks noGrp="1"/>
          </p:cNvSpPr>
          <p:nvPr>
            <p:ph type="body" sz="quarter" idx="13" hasCustomPrompt="1"/>
          </p:nvPr>
        </p:nvSpPr>
        <p:spPr>
          <a:xfrm>
            <a:off x="588263" y="2333625"/>
            <a:ext cx="5379160" cy="3704318"/>
          </a:xfrm>
        </p:spPr>
        <p:txBody>
          <a:bodyPr>
            <a:noAutofit/>
          </a:bodyPr>
          <a:lstStyle>
            <a:lvl1pPr marL="0" indent="0">
              <a:spcBef>
                <a:spcPts val="0"/>
              </a:spcBef>
              <a:spcAft>
                <a:spcPts val="800"/>
              </a:spcAft>
              <a:buNone/>
              <a:defRPr sz="2400" b="0">
                <a:latin typeface="+mn-lt"/>
              </a:defRPr>
            </a:lvl1pPr>
            <a:lvl2pPr marL="457200" indent="-276225">
              <a:spcBef>
                <a:spcPts val="0"/>
              </a:spcBef>
              <a:spcAft>
                <a:spcPts val="1200"/>
              </a:spcAft>
              <a:buSzPct val="100000"/>
              <a:buFont typeface="Arial" panose="020B0604020202020204" pitchFamily="34" charset="0"/>
              <a:buChar char="•"/>
              <a:defRPr lang="en-US" sz="2000" b="0" i="0" kern="1200" spc="0" baseline="0" dirty="0" smtClean="0">
                <a:solidFill>
                  <a:schemeClr val="tx1"/>
                </a:solidFill>
                <a:latin typeface="+mn-lt"/>
                <a:ea typeface="+mn-ea"/>
                <a:cs typeface="Segoe Sans Text" pitchFamily="2" charset="0"/>
              </a:defRPr>
            </a:lvl2pPr>
            <a:lvl3pPr marL="457200" indent="-228600">
              <a:buFont typeface="Arial" panose="020B0604020202020204" pitchFamily="34" charset="0"/>
              <a:buChar char="•"/>
              <a:defRPr/>
            </a:lvl3pPr>
            <a:lvl4pPr marL="842963" indent="-180975">
              <a:buFont typeface="Arial" panose="020B0604020202020204" pitchFamily="34" charset="0"/>
              <a:buChar char="•"/>
              <a:defRPr/>
            </a:lvl4pPr>
            <a:lvl5pPr marL="1023938" indent="-168275">
              <a:buFont typeface="Arial" panose="020B0604020202020204" pitchFamily="34" charset="0"/>
              <a:buChar char="•"/>
              <a:defRPr/>
            </a:lvl5pPr>
          </a:lstStyle>
          <a:p>
            <a:pPr lvl="0"/>
            <a:r>
              <a:rPr lang="en-US"/>
              <a:t>Click to add text</a:t>
            </a:r>
          </a:p>
          <a:p>
            <a:pPr lvl="1"/>
            <a:r>
              <a:rPr lang="en-US"/>
              <a:t>Click to add text</a:t>
            </a:r>
          </a:p>
        </p:txBody>
      </p:sp>
    </p:spTree>
    <p:custDataLst>
      <p:tags r:id="rId1"/>
    </p:custDataLst>
    <p:extLst>
      <p:ext uri="{BB962C8B-B14F-4D97-AF65-F5344CB8AC3E}">
        <p14:creationId xmlns:p14="http://schemas.microsoft.com/office/powerpoint/2010/main" val="1996344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FF59D3FD-29BA-71D2-8C2C-2EB1ABACC5C0}"/>
              </a:ext>
            </a:extLst>
          </p:cNvPr>
          <p:cNvPicPr>
            <a:picLocks noChangeAspect="1"/>
          </p:cNvPicPr>
          <p:nvPr userDrawn="1"/>
        </p:nvPicPr>
        <p:blipFill rotWithShape="1">
          <a:blip>
            <a:alphaModFix amt="40000"/>
            <a:extLst>
              <a:ext uri="{96DAC541-7B7A-43D3-8B79-37D633B846F1}">
                <asvg:svgBlip xmlns:asvg="http://schemas.microsoft.com/office/drawing/2016/SVG/main" r:embed="rId2"/>
              </a:ext>
            </a:extLst>
          </a:blip>
          <a:srcRect l="3216" t="6347" r="3216" b="6347"/>
          <a:stretch/>
        </p:blipFill>
        <p:spPr>
          <a:xfrm flipH="1">
            <a:off x="0" y="209208"/>
            <a:ext cx="12191999" cy="6648791"/>
          </a:xfrm>
          <a:prstGeom prst="rect">
            <a:avLst/>
          </a:prstGeom>
        </p:spPr>
      </p:pic>
      <p:sp>
        <p:nvSpPr>
          <p:cNvPr id="3" name="Rectangle: Rounded Corners 2">
            <a:extLst>
              <a:ext uri="{FF2B5EF4-FFF2-40B4-BE49-F238E27FC236}">
                <a16:creationId xmlns:a16="http://schemas.microsoft.com/office/drawing/2014/main" id="{6F2745C7-D622-8A7D-2886-3FB0936D8CD4}"/>
              </a:ext>
            </a:extLst>
          </p:cNvPr>
          <p:cNvSpPr>
            <a:spLocks/>
          </p:cNvSpPr>
          <p:nvPr userDrawn="1"/>
        </p:nvSpPr>
        <p:spPr>
          <a:xfrm>
            <a:off x="841829" y="1201481"/>
            <a:ext cx="10767559" cy="4531347"/>
          </a:xfrm>
          <a:prstGeom prst="roundRect">
            <a:avLst>
              <a:gd name="adj" fmla="val 4812"/>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3">
                <a:alpha val="15000"/>
              </a:schemeClr>
            </a:outerShdw>
          </a:effectLst>
        </p:spPr>
        <p:txBody>
          <a:bodyPr wrap="square" rtlCol="0" anchor="ctr">
            <a:noAutofit/>
          </a:bodyPr>
          <a:lstStyle/>
          <a:p>
            <a:endParaRPr lang="en-US"/>
          </a:p>
        </p:txBody>
      </p:sp>
      <p:sp>
        <p:nvSpPr>
          <p:cNvPr id="7" name="Oval 6">
            <a:extLst>
              <a:ext uri="{FF2B5EF4-FFF2-40B4-BE49-F238E27FC236}">
                <a16:creationId xmlns:a16="http://schemas.microsoft.com/office/drawing/2014/main" id="{41C88029-4549-41FE-B528-2C5A4F86C72D}"/>
              </a:ext>
              <a:ext uri="{C183D7F6-B498-43B3-948B-1728B52AA6E4}">
                <adec:decorative xmlns:adec="http://schemas.microsoft.com/office/drawing/2017/decorative" val="1"/>
              </a:ext>
            </a:extLst>
          </p:cNvPr>
          <p:cNvSpPr>
            <a:spLocks noChangeAspect="1"/>
          </p:cNvSpPr>
          <p:nvPr/>
        </p:nvSpPr>
        <p:spPr bwMode="auto">
          <a:xfrm rot="5400000">
            <a:off x="1132988" y="784467"/>
            <a:ext cx="893553" cy="893553"/>
          </a:xfrm>
          <a:prstGeom prst="ellipse">
            <a:avLst/>
          </a:prstGeom>
          <a:solidFill>
            <a:schemeClr val="bg1"/>
          </a:solidFill>
          <a:ln w="19050">
            <a:solidFill>
              <a:schemeClr val="accent3"/>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2000" b="1">
              <a:solidFill>
                <a:schemeClr val="accent3"/>
              </a:solidFill>
              <a:cs typeface="Segoe UI Semibold" panose="020B0702040204020203" pitchFamily="34" charset="0"/>
            </a:endParaRPr>
          </a:p>
        </p:txBody>
      </p:sp>
      <p:sp>
        <p:nvSpPr>
          <p:cNvPr id="12" name="Text Placeholder 4">
            <a:extLst>
              <a:ext uri="{FF2B5EF4-FFF2-40B4-BE49-F238E27FC236}">
                <a16:creationId xmlns:a16="http://schemas.microsoft.com/office/drawing/2014/main" id="{68FA17A9-3CE6-8B7C-CB5D-503CB8554582}"/>
              </a:ext>
            </a:extLst>
          </p:cNvPr>
          <p:cNvSpPr txBox="1">
            <a:spLocks/>
          </p:cNvSpPr>
          <p:nvPr userDrawn="1"/>
        </p:nvSpPr>
        <p:spPr>
          <a:xfrm>
            <a:off x="1227943" y="723480"/>
            <a:ext cx="1030286" cy="671463"/>
          </a:xfrm>
          <a:prstGeom prst="rect">
            <a:avLst/>
          </a:prstGeom>
          <a:ln>
            <a:solidFill>
              <a:schemeClr val="accent3"/>
            </a:solidFill>
          </a:ln>
        </p:spPr>
        <p:txBody>
          <a:bodyPr wrap="square" lIns="0" tIns="0" rIns="0" bIns="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4000" b="1" i="0" kern="1200" spc="0" baseline="0">
                <a:solidFill>
                  <a:schemeClr val="bg1"/>
                </a:solidFill>
                <a:latin typeface="+mj-lt"/>
                <a:ea typeface="+mn-ea"/>
                <a:cs typeface="Segoe Sans Text Semibold"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4000" b="0" i="0" kern="1200" spc="0" baseline="0">
                <a:solidFill>
                  <a:schemeClr val="bg1"/>
                </a:solidFill>
                <a:latin typeface="+mn-lt"/>
                <a:ea typeface="+mn-ea"/>
                <a:cs typeface="Segoe Sans Text" pitchFamily="2"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4000" b="0" i="0" kern="1200" spc="0" baseline="0">
                <a:solidFill>
                  <a:schemeClr val="bg1"/>
                </a:solidFill>
                <a:latin typeface="+mn-lt"/>
                <a:ea typeface="+mn-ea"/>
                <a:cs typeface="Segoe Sans Text" pitchFamily="2"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4000" b="0" i="0" kern="1200" spc="0" baseline="0">
                <a:solidFill>
                  <a:schemeClr val="bg1"/>
                </a:solidFill>
                <a:latin typeface="+mn-lt"/>
                <a:ea typeface="+mn-ea"/>
                <a:cs typeface="Segoe Sans Text" pitchFamily="2"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4000" b="0" i="0" kern="1200" spc="0" baseline="0">
                <a:solidFill>
                  <a:schemeClr val="bg1"/>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11500">
                <a:solidFill>
                  <a:schemeClr val="accent3"/>
                </a:solidFill>
                <a:latin typeface="+mn-lt"/>
              </a:rPr>
              <a:t>“</a:t>
            </a:r>
          </a:p>
        </p:txBody>
      </p:sp>
      <p:sp>
        <p:nvSpPr>
          <p:cNvPr id="15" name="Text Placeholder 43">
            <a:extLst>
              <a:ext uri="{FF2B5EF4-FFF2-40B4-BE49-F238E27FC236}">
                <a16:creationId xmlns:a16="http://schemas.microsoft.com/office/drawing/2014/main" id="{E47A1708-33E6-3BD7-0CD2-C0426DF053BC}"/>
              </a:ext>
            </a:extLst>
          </p:cNvPr>
          <p:cNvSpPr>
            <a:spLocks noGrp="1"/>
          </p:cNvSpPr>
          <p:nvPr>
            <p:ph type="body" sz="quarter" idx="12" hasCustomPrompt="1"/>
          </p:nvPr>
        </p:nvSpPr>
        <p:spPr>
          <a:xfrm>
            <a:off x="1119188" y="4865509"/>
            <a:ext cx="3018712" cy="246221"/>
          </a:xfrm>
        </p:spPr>
        <p:txBody>
          <a:bodyPr wrap="none" lIns="91440" anchor="t">
            <a:spAutoFit/>
          </a:bodyPr>
          <a:lstStyle>
            <a:lvl1pPr marL="0" indent="0" algn="l">
              <a:buNone/>
              <a:defRPr sz="1600">
                <a:solidFill>
                  <a:schemeClr val="accent3"/>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Person’s Name – Title – Source</a:t>
            </a:r>
          </a:p>
        </p:txBody>
      </p:sp>
      <p:sp>
        <p:nvSpPr>
          <p:cNvPr id="16" name="Text Placeholder 43">
            <a:extLst>
              <a:ext uri="{FF2B5EF4-FFF2-40B4-BE49-F238E27FC236}">
                <a16:creationId xmlns:a16="http://schemas.microsoft.com/office/drawing/2014/main" id="{28B9A24F-8AF8-385B-4671-A8911A677578}"/>
              </a:ext>
            </a:extLst>
          </p:cNvPr>
          <p:cNvSpPr>
            <a:spLocks noGrp="1"/>
          </p:cNvSpPr>
          <p:nvPr>
            <p:ph type="body" sz="quarter" idx="13" hasCustomPrompt="1"/>
          </p:nvPr>
        </p:nvSpPr>
        <p:spPr>
          <a:xfrm>
            <a:off x="1119188" y="5163577"/>
            <a:ext cx="2170659" cy="184666"/>
          </a:xfrm>
        </p:spPr>
        <p:txBody>
          <a:bodyPr wrap="none" lIns="91440" anchor="t">
            <a:spAutoFit/>
          </a:bodyPr>
          <a:lstStyle>
            <a:lvl1pPr marL="0" indent="0" algn="l">
              <a:buNone/>
              <a:defRPr sz="1200" b="0">
                <a:solidFill>
                  <a:schemeClr val="tx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Tertiary Information Goes Here</a:t>
            </a:r>
          </a:p>
        </p:txBody>
      </p:sp>
      <p:sp>
        <p:nvSpPr>
          <p:cNvPr id="14" name="Text Placeholder 43">
            <a:extLst>
              <a:ext uri="{FF2B5EF4-FFF2-40B4-BE49-F238E27FC236}">
                <a16:creationId xmlns:a16="http://schemas.microsoft.com/office/drawing/2014/main" id="{5E520893-921B-3848-12CE-0C45071DE258}"/>
              </a:ext>
            </a:extLst>
          </p:cNvPr>
          <p:cNvSpPr>
            <a:spLocks noGrp="1"/>
          </p:cNvSpPr>
          <p:nvPr>
            <p:ph type="body" sz="quarter" idx="11" hasCustomPrompt="1"/>
          </p:nvPr>
        </p:nvSpPr>
        <p:spPr>
          <a:xfrm>
            <a:off x="1119188" y="1935602"/>
            <a:ext cx="9953625" cy="2092881"/>
          </a:xfrm>
        </p:spPr>
        <p:txBody>
          <a:bodyPr wrap="square" lIns="91440" tIns="45720" rIns="91440" bIns="45720" anchor="t">
            <a:noAutofit/>
          </a:bodyPr>
          <a:lstStyle>
            <a:lvl1pPr marL="0" indent="0" algn="l">
              <a:buNone/>
              <a:defRPr sz="3600" b="0">
                <a:solidFill>
                  <a:schemeClr val="tx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a:defRPr/>
            </a:pPr>
            <a:r>
              <a:rPr lang="en-US">
                <a:solidFill>
                  <a:schemeClr val="tx1"/>
                </a:solidFill>
                <a:latin typeface="+mn-lt"/>
              </a:rPr>
              <a:t>Add quote text here Add quote text here</a:t>
            </a:r>
          </a:p>
          <a:p>
            <a:pPr>
              <a:defRPr/>
            </a:pPr>
            <a:r>
              <a:rPr lang="en-US">
                <a:solidFill>
                  <a:schemeClr val="tx1"/>
                </a:solidFill>
                <a:latin typeface="+mn-lt"/>
              </a:rPr>
              <a:t>Add quote text here Add quote text here</a:t>
            </a:r>
          </a:p>
          <a:p>
            <a:pPr>
              <a:defRPr/>
            </a:pPr>
            <a:r>
              <a:rPr lang="en-US">
                <a:solidFill>
                  <a:schemeClr val="tx1"/>
                </a:solidFill>
                <a:latin typeface="+mn-lt"/>
              </a:rPr>
              <a:t>Add quote text here Add quote text here</a:t>
            </a:r>
          </a:p>
        </p:txBody>
      </p:sp>
    </p:spTree>
    <p:extLst>
      <p:ext uri="{BB962C8B-B14F-4D97-AF65-F5344CB8AC3E}">
        <p14:creationId xmlns:p14="http://schemas.microsoft.com/office/powerpoint/2010/main" val="2116826708"/>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71B0C91A-0B1C-7B85-CC2C-43D55A1FC464}"/>
              </a:ext>
            </a:extLst>
          </p:cNvPr>
          <p:cNvPicPr>
            <a:picLocks noChangeAspect="1"/>
          </p:cNvPicPr>
          <p:nvPr userDrawn="1"/>
        </p:nvPicPr>
        <p:blipFill rotWithShape="1">
          <a:blip>
            <a:alphaModFix amt="11000"/>
            <a:extLst>
              <a:ext uri="{96DAC541-7B7A-43D3-8B79-37D633B846F1}">
                <asvg:svgBlip xmlns:asvg="http://schemas.microsoft.com/office/drawing/2016/SVG/main" r:embed="rId3"/>
              </a:ext>
            </a:extLst>
          </a:blip>
          <a:srcRect l="11972" t="15844" r="7803" b="24788"/>
          <a:stretch/>
        </p:blipFill>
        <p:spPr>
          <a:xfrm>
            <a:off x="1" y="1584960"/>
            <a:ext cx="12191999" cy="5273040"/>
          </a:xfrm>
          <a:custGeom>
            <a:avLst/>
            <a:gdLst>
              <a:gd name="connsiteX0" fmla="*/ 0 w 12191999"/>
              <a:gd name="connsiteY0" fmla="*/ 0 h 5273040"/>
              <a:gd name="connsiteX1" fmla="*/ 12191999 w 12191999"/>
              <a:gd name="connsiteY1" fmla="*/ 0 h 5273040"/>
              <a:gd name="connsiteX2" fmla="*/ 12191999 w 12191999"/>
              <a:gd name="connsiteY2" fmla="*/ 5273040 h 5273040"/>
              <a:gd name="connsiteX3" fmla="*/ 0 w 12191999"/>
              <a:gd name="connsiteY3" fmla="*/ 5273040 h 5273040"/>
            </a:gdLst>
            <a:ahLst/>
            <a:cxnLst>
              <a:cxn ang="0">
                <a:pos x="connsiteX0" y="connsiteY0"/>
              </a:cxn>
              <a:cxn ang="0">
                <a:pos x="connsiteX1" y="connsiteY1"/>
              </a:cxn>
              <a:cxn ang="0">
                <a:pos x="connsiteX2" y="connsiteY2"/>
              </a:cxn>
              <a:cxn ang="0">
                <a:pos x="connsiteX3" y="connsiteY3"/>
              </a:cxn>
            </a:cxnLst>
            <a:rect l="l" t="t" r="r" b="b"/>
            <a:pathLst>
              <a:path w="12191999" h="5273040">
                <a:moveTo>
                  <a:pt x="0" y="0"/>
                </a:moveTo>
                <a:lnTo>
                  <a:pt x="12191999" y="0"/>
                </a:lnTo>
                <a:lnTo>
                  <a:pt x="12191999" y="5273040"/>
                </a:lnTo>
                <a:lnTo>
                  <a:pt x="0" y="5273040"/>
                </a:lnTo>
                <a:close/>
              </a:path>
            </a:pathLst>
          </a:custGeom>
        </p:spPr>
      </p:pic>
      <p:sp>
        <p:nvSpPr>
          <p:cNvPr id="4" name="Rectangle: Rounded Corners 106">
            <a:extLst>
              <a:ext uri="{FF2B5EF4-FFF2-40B4-BE49-F238E27FC236}">
                <a16:creationId xmlns:a16="http://schemas.microsoft.com/office/drawing/2014/main" id="{6E507CF6-F743-66E7-8735-B14425FF3115}"/>
              </a:ext>
              <a:ext uri="{C183D7F6-B498-43B3-948B-1728B52AA6E4}">
                <adec:decorative xmlns:adec="http://schemas.microsoft.com/office/drawing/2017/decorative" val="1"/>
              </a:ext>
            </a:extLst>
          </p:cNvPr>
          <p:cNvSpPr/>
          <p:nvPr userDrawn="1"/>
        </p:nvSpPr>
        <p:spPr bwMode="auto">
          <a:xfrm>
            <a:off x="584201" y="1226164"/>
            <a:ext cx="11025185" cy="5338149"/>
          </a:xfrm>
          <a:prstGeom prst="roundRect">
            <a:avLst>
              <a:gd name="adj" fmla="val 1215"/>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3">
                <a:alpha val="15000"/>
              </a:schemeClr>
            </a:outerShdw>
          </a:effectLst>
        </p:spPr>
        <p:txBody>
          <a:bodyPr wrap="square" rtlCol="0" anchor="ctr">
            <a:noAutofit/>
          </a:bodyPr>
          <a:lstStyle/>
          <a:p>
            <a:pPr marL="0" indent="0">
              <a:lnSpc>
                <a:spcPct val="100000"/>
              </a:lnSpc>
              <a:buFont typeface="Arial" panose="020B0604020202020204" pitchFamily="34" charset="0"/>
              <a:buNone/>
            </a:pPr>
            <a:endParaRPr lang="en-US">
              <a:solidFill>
                <a:schemeClr val="tx1"/>
              </a:solidFill>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vert="horz" wrap="square" lIns="0" tIns="0" rIns="0" bIns="0" rtlCol="0" anchor="t">
            <a:spAutoFit/>
          </a:bodyPr>
          <a:lstStyle>
            <a:lvl1pPr>
              <a:defRPr lang="en-US" spc="0">
                <a:latin typeface="+mj-lt"/>
                <a:cs typeface="Segoe Sans Text" pitchFamily="2" charset="0"/>
              </a:defRPr>
            </a:lvl1pPr>
          </a:lstStyle>
          <a:p>
            <a:pPr lvl="0"/>
            <a:r>
              <a:rPr lang="en-US"/>
              <a:t>Click to edit Master title style</a:t>
            </a:r>
          </a:p>
        </p:txBody>
      </p:sp>
      <p:sp>
        <p:nvSpPr>
          <p:cNvPr id="6" name="Rectangle: Top Corners Rounded 99">
            <a:extLst>
              <a:ext uri="{FF2B5EF4-FFF2-40B4-BE49-F238E27FC236}">
                <a16:creationId xmlns:a16="http://schemas.microsoft.com/office/drawing/2014/main" id="{8AF4A31B-402A-618A-019E-7C1E432EA72C}"/>
              </a:ext>
            </a:extLst>
          </p:cNvPr>
          <p:cNvSpPr/>
          <p:nvPr userDrawn="1"/>
        </p:nvSpPr>
        <p:spPr bwMode="auto">
          <a:xfrm>
            <a:off x="584201" y="1226164"/>
            <a:ext cx="11025185" cy="450994"/>
          </a:xfrm>
          <a:prstGeom prst="round2SameRect">
            <a:avLst/>
          </a:prstGeom>
          <a:solidFill>
            <a:srgbClr val="ECF5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indent="0" defTabSz="932472" fontAlgn="base">
              <a:lnSpc>
                <a:spcPct val="100000"/>
              </a:lnSpc>
              <a:spcBef>
                <a:spcPct val="0"/>
              </a:spcBef>
              <a:spcAft>
                <a:spcPct val="0"/>
              </a:spcAft>
              <a:buFont typeface="Arial" panose="020B0604020202020204" pitchFamily="34" charset="0"/>
              <a:buNone/>
            </a:pPr>
            <a:endParaRPr lang="en-US" sz="1600">
              <a:solidFill>
                <a:schemeClr val="tx1"/>
              </a:solidFill>
              <a:latin typeface="+mj-lt"/>
              <a:cs typeface="Segoe UI" pitchFamily="34" charset="0"/>
            </a:endParaRPr>
          </a:p>
        </p:txBody>
      </p:sp>
      <p:sp>
        <p:nvSpPr>
          <p:cNvPr id="7" name="Rectangle 6">
            <a:extLst>
              <a:ext uri="{FF2B5EF4-FFF2-40B4-BE49-F238E27FC236}">
                <a16:creationId xmlns:a16="http://schemas.microsoft.com/office/drawing/2014/main" id="{EBFBE0D3-888A-0240-7BEC-B4F27C43C58D}"/>
              </a:ext>
            </a:extLst>
          </p:cNvPr>
          <p:cNvSpPr/>
          <p:nvPr userDrawn="1"/>
        </p:nvSpPr>
        <p:spPr bwMode="auto">
          <a:xfrm>
            <a:off x="584201" y="2139875"/>
            <a:ext cx="11025185" cy="450994"/>
          </a:xfrm>
          <a:prstGeom prst="rect">
            <a:avLst/>
          </a:prstGeom>
          <a:solidFill>
            <a:srgbClr val="ECF5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indent="0" defTabSz="932472" fontAlgn="base">
              <a:lnSpc>
                <a:spcPct val="100000"/>
              </a:lnSpc>
              <a:spcBef>
                <a:spcPct val="0"/>
              </a:spcBef>
              <a:spcAft>
                <a:spcPct val="0"/>
              </a:spcAft>
              <a:buFont typeface="Arial" panose="020B0604020202020204" pitchFamily="34" charset="0"/>
              <a:buNone/>
            </a:pPr>
            <a:endParaRPr lang="en-US" sz="1600">
              <a:solidFill>
                <a:schemeClr val="tx1"/>
              </a:solidFill>
              <a:latin typeface="+mj-lt"/>
              <a:cs typeface="Segoe UI" pitchFamily="34" charset="0"/>
            </a:endParaRPr>
          </a:p>
        </p:txBody>
      </p:sp>
      <p:sp>
        <p:nvSpPr>
          <p:cNvPr id="8" name="Rectangle 7">
            <a:extLst>
              <a:ext uri="{FF2B5EF4-FFF2-40B4-BE49-F238E27FC236}">
                <a16:creationId xmlns:a16="http://schemas.microsoft.com/office/drawing/2014/main" id="{D4D2B770-711E-0D0B-D67E-2096DC21755D}"/>
              </a:ext>
            </a:extLst>
          </p:cNvPr>
          <p:cNvSpPr/>
          <p:nvPr userDrawn="1"/>
        </p:nvSpPr>
        <p:spPr bwMode="auto">
          <a:xfrm>
            <a:off x="584200" y="3041862"/>
            <a:ext cx="11025185" cy="450994"/>
          </a:xfrm>
          <a:prstGeom prst="rect">
            <a:avLst/>
          </a:prstGeom>
          <a:solidFill>
            <a:srgbClr val="ECF5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indent="0" defTabSz="932472" fontAlgn="base">
              <a:lnSpc>
                <a:spcPct val="100000"/>
              </a:lnSpc>
              <a:spcBef>
                <a:spcPct val="0"/>
              </a:spcBef>
              <a:spcAft>
                <a:spcPct val="0"/>
              </a:spcAft>
              <a:buFont typeface="Arial" panose="020B0604020202020204" pitchFamily="34" charset="0"/>
              <a:buNone/>
            </a:pPr>
            <a:endParaRPr lang="en-US" sz="1600">
              <a:solidFill>
                <a:schemeClr val="tx1"/>
              </a:solidFill>
              <a:latin typeface="+mj-lt"/>
              <a:cs typeface="Segoe UI" pitchFamily="34" charset="0"/>
            </a:endParaRPr>
          </a:p>
        </p:txBody>
      </p:sp>
      <p:sp>
        <p:nvSpPr>
          <p:cNvPr id="155" name="Text Placeholder 93">
            <a:extLst>
              <a:ext uri="{FF2B5EF4-FFF2-40B4-BE49-F238E27FC236}">
                <a16:creationId xmlns:a16="http://schemas.microsoft.com/office/drawing/2014/main" id="{46A67D1D-E50E-1334-C79F-5076E7B3F65A}"/>
              </a:ext>
            </a:extLst>
          </p:cNvPr>
          <p:cNvSpPr>
            <a:spLocks noGrp="1"/>
          </p:cNvSpPr>
          <p:nvPr>
            <p:ph type="body" sz="quarter" idx="70" hasCustomPrompt="1"/>
          </p:nvPr>
        </p:nvSpPr>
        <p:spPr>
          <a:xfrm>
            <a:off x="695021" y="4279995"/>
            <a:ext cx="1690843" cy="646331"/>
          </a:xfrm>
          <a:prstGeom prst="rect">
            <a:avLst/>
          </a:prstGeom>
        </p:spPr>
        <p:txBody>
          <a:bodyPr lIns="91440" rIns="91440" anchor="ctr">
            <a:noAutofit/>
          </a:bodyPr>
          <a:lstStyle>
            <a:lvl1pPr marL="0" indent="0">
              <a:lnSpc>
                <a:spcPct val="100000"/>
              </a:lnSpc>
              <a:buNone/>
              <a:defRPr kumimoji="0" lang="en-GB" sz="1800" b="0" i="0" u="none" strike="noStrike" kern="1200" cap="none" spc="0" normalizeH="0" baseline="0" dirty="0" smtClean="0">
                <a:ln>
                  <a:noFill/>
                </a:ln>
                <a:solidFill>
                  <a:schemeClr val="tx1"/>
                </a:solidFill>
                <a:effectLst/>
                <a:uLnTx/>
                <a:uFillTx/>
                <a:latin typeface="+mj-lt"/>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Click to add text</a:t>
            </a:r>
          </a:p>
        </p:txBody>
      </p:sp>
      <p:graphicFrame>
        <p:nvGraphicFramePr>
          <p:cNvPr id="10" name="Table 320">
            <a:extLst>
              <a:ext uri="{FF2B5EF4-FFF2-40B4-BE49-F238E27FC236}">
                <a16:creationId xmlns:a16="http://schemas.microsoft.com/office/drawing/2014/main" id="{C488B78E-54E9-C8C5-E7FF-818EC1EFF018}"/>
              </a:ext>
            </a:extLst>
          </p:cNvPr>
          <p:cNvGraphicFramePr>
            <a:graphicFrameLocks noGrp="1"/>
          </p:cNvGraphicFramePr>
          <p:nvPr userDrawn="1">
            <p:extLst>
              <p:ext uri="{D42A27DB-BD31-4B8C-83A1-F6EECF244321}">
                <p14:modId xmlns:p14="http://schemas.microsoft.com/office/powerpoint/2010/main" val="1291350419"/>
              </p:ext>
            </p:extLst>
          </p:nvPr>
        </p:nvGraphicFramePr>
        <p:xfrm>
          <a:off x="702056" y="4993153"/>
          <a:ext cx="1804555" cy="1148178"/>
        </p:xfrm>
        <a:graphic>
          <a:graphicData uri="http://schemas.openxmlformats.org/drawingml/2006/table">
            <a:tbl>
              <a:tblPr firstRow="1">
                <a:tableStyleId>{5C22544A-7EE6-4342-B048-85BDC9FD1C3A}</a:tableStyleId>
              </a:tblPr>
              <a:tblGrid>
                <a:gridCol w="178490">
                  <a:extLst>
                    <a:ext uri="{9D8B030D-6E8A-4147-A177-3AD203B41FA5}">
                      <a16:colId xmlns:a16="http://schemas.microsoft.com/office/drawing/2014/main" val="3724322711"/>
                    </a:ext>
                  </a:extLst>
                </a:gridCol>
                <a:gridCol w="1626065">
                  <a:extLst>
                    <a:ext uri="{9D8B030D-6E8A-4147-A177-3AD203B41FA5}">
                      <a16:colId xmlns:a16="http://schemas.microsoft.com/office/drawing/2014/main" val="781492398"/>
                    </a:ext>
                  </a:extLst>
                </a:gridCol>
              </a:tblGrid>
              <a:tr h="191363">
                <a:tc>
                  <a:txBody>
                    <a:bodyPr/>
                    <a:lstStyle/>
                    <a:p>
                      <a:endParaRPr lang="en-US" sz="900" b="1" i="0">
                        <a:latin typeface="Segoe Sans Text Semibold" pitchFamily="2" charset="0"/>
                      </a:endParaRPr>
                    </a:p>
                  </a:txBody>
                  <a:tcPr marL="76545" marR="76545" marT="0" marB="0">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solidFill>
                      <a:schemeClr val="tx2"/>
                    </a:solidFill>
                  </a:tcPr>
                </a:tc>
                <a:tc>
                  <a:txBody>
                    <a:bodyPr/>
                    <a:lstStyle/>
                    <a:p>
                      <a:endParaRPr lang="en-US" sz="900" b="1" i="0">
                        <a:solidFill>
                          <a:schemeClr val="tx1"/>
                        </a:solidFill>
                        <a:latin typeface="Segoe Sans Text Semibold" pitchFamily="2" charset="0"/>
                      </a:endParaRPr>
                    </a:p>
                  </a:txBody>
                  <a:tcPr marL="76545" marR="76545" marT="0" marB="0" anchor="ctr">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noFill/>
                  </a:tcPr>
                </a:tc>
                <a:extLst>
                  <a:ext uri="{0D108BD9-81ED-4DB2-BD59-A6C34878D82A}">
                    <a16:rowId xmlns:a16="http://schemas.microsoft.com/office/drawing/2014/main" val="4232596931"/>
                  </a:ext>
                </a:extLst>
              </a:tr>
              <a:tr h="191363">
                <a:tc>
                  <a:txBody>
                    <a:bodyPr/>
                    <a:lstStyle/>
                    <a:p>
                      <a:endParaRPr lang="en-US" sz="900" b="1" i="0">
                        <a:latin typeface="Segoe Sans Text Semibold" pitchFamily="2" charset="0"/>
                      </a:endParaRPr>
                    </a:p>
                  </a:txBody>
                  <a:tcPr marL="76545" marR="76545" marT="0" marB="0">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solidFill>
                      <a:schemeClr val="accent3"/>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b="1" i="0">
                        <a:solidFill>
                          <a:schemeClr val="tx1"/>
                        </a:solidFill>
                        <a:latin typeface="Segoe Sans Text Semibold" pitchFamily="2" charset="0"/>
                      </a:endParaRPr>
                    </a:p>
                  </a:txBody>
                  <a:tcPr marL="76545" marR="76545" marT="0" marB="0" anchor="ctr">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noFill/>
                  </a:tcPr>
                </a:tc>
                <a:extLst>
                  <a:ext uri="{0D108BD9-81ED-4DB2-BD59-A6C34878D82A}">
                    <a16:rowId xmlns:a16="http://schemas.microsoft.com/office/drawing/2014/main" val="4060313599"/>
                  </a:ext>
                </a:extLst>
              </a:tr>
              <a:tr h="191363">
                <a:tc>
                  <a:txBody>
                    <a:bodyPr/>
                    <a:lstStyle/>
                    <a:p>
                      <a:endParaRPr lang="en-US" sz="900" b="1" i="0">
                        <a:latin typeface="Segoe Sans Text Semibold" pitchFamily="2" charset="0"/>
                      </a:endParaRPr>
                    </a:p>
                  </a:txBody>
                  <a:tcPr marL="76545" marR="76545" marT="0" marB="0">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solidFill>
                      <a:schemeClr val="accent4">
                        <a:lumMod val="5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b="1" i="0">
                        <a:solidFill>
                          <a:schemeClr val="tx1"/>
                        </a:solidFill>
                        <a:latin typeface="Segoe Sans Text Semibold" pitchFamily="2" charset="0"/>
                      </a:endParaRPr>
                    </a:p>
                  </a:txBody>
                  <a:tcPr marL="76545" marR="76545" marT="0" marB="0" anchor="ctr">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noFill/>
                  </a:tcPr>
                </a:tc>
                <a:extLst>
                  <a:ext uri="{0D108BD9-81ED-4DB2-BD59-A6C34878D82A}">
                    <a16:rowId xmlns:a16="http://schemas.microsoft.com/office/drawing/2014/main" val="2413796222"/>
                  </a:ext>
                </a:extLst>
              </a:tr>
              <a:tr h="191363">
                <a:tc>
                  <a:txBody>
                    <a:bodyPr/>
                    <a:lstStyle/>
                    <a:p>
                      <a:endParaRPr lang="en-US" sz="900" b="1" i="0">
                        <a:latin typeface="Segoe Sans Text Semibold" pitchFamily="2" charset="0"/>
                      </a:endParaRPr>
                    </a:p>
                  </a:txBody>
                  <a:tcPr marL="76545" marR="76545" marT="0" marB="0">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solidFill>
                      <a:schemeClr val="accent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chemeClr val="tx1"/>
                        </a:solidFill>
                        <a:effectLst/>
                        <a:uLnTx/>
                        <a:uFillTx/>
                        <a:latin typeface="Segoe Sans Text Semibold" pitchFamily="2" charset="0"/>
                        <a:ea typeface="+mn-ea"/>
                        <a:cs typeface="Segoe Sans Text" pitchFamily="2" charset="0"/>
                      </a:endParaRPr>
                    </a:p>
                  </a:txBody>
                  <a:tcPr marL="76545" marR="76545" marT="0" marB="0" anchor="ctr">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noFill/>
                  </a:tcPr>
                </a:tc>
                <a:extLst>
                  <a:ext uri="{0D108BD9-81ED-4DB2-BD59-A6C34878D82A}">
                    <a16:rowId xmlns:a16="http://schemas.microsoft.com/office/drawing/2014/main" val="3337734925"/>
                  </a:ext>
                </a:extLst>
              </a:tr>
              <a:tr h="191363">
                <a:tc>
                  <a:txBody>
                    <a:bodyPr/>
                    <a:lstStyle/>
                    <a:p>
                      <a:endParaRPr lang="en-US" sz="900" b="1" i="0">
                        <a:latin typeface="Segoe Sans Text Semibold" pitchFamily="2" charset="0"/>
                      </a:endParaRPr>
                    </a:p>
                  </a:txBody>
                  <a:tcPr marL="76545" marR="76545" marT="0" marB="0">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solidFill>
                      <a:schemeClr val="accent5"/>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chemeClr val="tx1"/>
                        </a:solidFill>
                        <a:effectLst/>
                        <a:uLnTx/>
                        <a:uFillTx/>
                        <a:latin typeface="Segoe Sans Text Semibold" pitchFamily="2" charset="0"/>
                        <a:ea typeface="+mn-ea"/>
                        <a:cs typeface="Segoe Sans Text" pitchFamily="2" charset="0"/>
                      </a:endParaRPr>
                    </a:p>
                  </a:txBody>
                  <a:tcPr marL="76545" marR="76545" marT="0" marB="0" anchor="ctr">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noFill/>
                  </a:tcPr>
                </a:tc>
                <a:extLst>
                  <a:ext uri="{0D108BD9-81ED-4DB2-BD59-A6C34878D82A}">
                    <a16:rowId xmlns:a16="http://schemas.microsoft.com/office/drawing/2014/main" val="1406039837"/>
                  </a:ext>
                </a:extLst>
              </a:tr>
              <a:tr h="191363">
                <a:tc>
                  <a:txBody>
                    <a:bodyPr/>
                    <a:lstStyle/>
                    <a:p>
                      <a:endParaRPr lang="en-US" sz="900" b="1" i="0">
                        <a:latin typeface="Segoe Sans Text Semibold" pitchFamily="2" charset="0"/>
                      </a:endParaRPr>
                    </a:p>
                  </a:txBody>
                  <a:tcPr marL="76545" marR="76545" marT="0" marB="0">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solidFill>
                      <a:schemeClr val="accent5">
                        <a:lumMod val="5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chemeClr val="tx1"/>
                        </a:solidFill>
                        <a:effectLst/>
                        <a:uLnTx/>
                        <a:uFillTx/>
                        <a:latin typeface="Segoe Sans Text Semibold" pitchFamily="2" charset="0"/>
                        <a:ea typeface="+mn-ea"/>
                        <a:cs typeface="Segoe Sans Text" pitchFamily="2" charset="0"/>
                      </a:endParaRPr>
                    </a:p>
                  </a:txBody>
                  <a:tcPr marL="76545" marR="76545" marT="0" marB="0" anchor="ctr">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noFill/>
                  </a:tcPr>
                </a:tc>
                <a:extLst>
                  <a:ext uri="{0D108BD9-81ED-4DB2-BD59-A6C34878D82A}">
                    <a16:rowId xmlns:a16="http://schemas.microsoft.com/office/drawing/2014/main" val="436588233"/>
                  </a:ext>
                </a:extLst>
              </a:tr>
            </a:tbl>
          </a:graphicData>
        </a:graphic>
      </p:graphicFrame>
      <p:sp>
        <p:nvSpPr>
          <p:cNvPr id="11" name="Rectangle: Top Corners Rounded 82">
            <a:extLst>
              <a:ext uri="{FF2B5EF4-FFF2-40B4-BE49-F238E27FC236}">
                <a16:creationId xmlns:a16="http://schemas.microsoft.com/office/drawing/2014/main" id="{CABECA59-A495-61F0-C757-D2A67519AF41}"/>
              </a:ext>
            </a:extLst>
          </p:cNvPr>
          <p:cNvSpPr/>
          <p:nvPr userDrawn="1"/>
        </p:nvSpPr>
        <p:spPr>
          <a:xfrm>
            <a:off x="584200"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12" name="Rectangle: Top Corners Rounded 83">
            <a:extLst>
              <a:ext uri="{FF2B5EF4-FFF2-40B4-BE49-F238E27FC236}">
                <a16:creationId xmlns:a16="http://schemas.microsoft.com/office/drawing/2014/main" id="{3FC76195-0F95-970B-D669-0C5140CE577C}"/>
              </a:ext>
            </a:extLst>
          </p:cNvPr>
          <p:cNvSpPr/>
          <p:nvPr userDrawn="1"/>
        </p:nvSpPr>
        <p:spPr>
          <a:xfrm>
            <a:off x="1362194"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13" name="Rectangle: Top Corners Rounded 84">
            <a:extLst>
              <a:ext uri="{FF2B5EF4-FFF2-40B4-BE49-F238E27FC236}">
                <a16:creationId xmlns:a16="http://schemas.microsoft.com/office/drawing/2014/main" id="{A0691F27-F912-0321-9BD9-434B8DF08566}"/>
              </a:ext>
            </a:extLst>
          </p:cNvPr>
          <p:cNvSpPr/>
          <p:nvPr userDrawn="1"/>
        </p:nvSpPr>
        <p:spPr>
          <a:xfrm>
            <a:off x="2160890"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15" name="Rectangle: Top Corners Rounded 85">
            <a:extLst>
              <a:ext uri="{FF2B5EF4-FFF2-40B4-BE49-F238E27FC236}">
                <a16:creationId xmlns:a16="http://schemas.microsoft.com/office/drawing/2014/main" id="{98B4A810-F647-9D86-9D48-0A73484D06A9}"/>
              </a:ext>
            </a:extLst>
          </p:cNvPr>
          <p:cNvSpPr/>
          <p:nvPr userDrawn="1"/>
        </p:nvSpPr>
        <p:spPr>
          <a:xfrm>
            <a:off x="2959586"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21" name="Rectangle: Top Corners Rounded 86">
            <a:extLst>
              <a:ext uri="{FF2B5EF4-FFF2-40B4-BE49-F238E27FC236}">
                <a16:creationId xmlns:a16="http://schemas.microsoft.com/office/drawing/2014/main" id="{841DD092-1553-41EE-9D46-F2222D2808BC}"/>
              </a:ext>
            </a:extLst>
          </p:cNvPr>
          <p:cNvSpPr/>
          <p:nvPr userDrawn="1"/>
        </p:nvSpPr>
        <p:spPr>
          <a:xfrm>
            <a:off x="3758282"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22" name="Rectangle: Top Corners Rounded 87">
            <a:extLst>
              <a:ext uri="{FF2B5EF4-FFF2-40B4-BE49-F238E27FC236}">
                <a16:creationId xmlns:a16="http://schemas.microsoft.com/office/drawing/2014/main" id="{FE03B5E8-72B5-74A6-4C94-B7E65AA24959}"/>
              </a:ext>
            </a:extLst>
          </p:cNvPr>
          <p:cNvSpPr/>
          <p:nvPr userDrawn="1"/>
        </p:nvSpPr>
        <p:spPr>
          <a:xfrm>
            <a:off x="4556978"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28" name="Rectangle: Top Corners Rounded 88">
            <a:extLst>
              <a:ext uri="{FF2B5EF4-FFF2-40B4-BE49-F238E27FC236}">
                <a16:creationId xmlns:a16="http://schemas.microsoft.com/office/drawing/2014/main" id="{7D24DC17-6AFC-3FCC-C734-C632A399AB33}"/>
              </a:ext>
            </a:extLst>
          </p:cNvPr>
          <p:cNvSpPr/>
          <p:nvPr userDrawn="1"/>
        </p:nvSpPr>
        <p:spPr>
          <a:xfrm>
            <a:off x="5355674"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37" name="Rectangle: Top Corners Rounded 89">
            <a:extLst>
              <a:ext uri="{FF2B5EF4-FFF2-40B4-BE49-F238E27FC236}">
                <a16:creationId xmlns:a16="http://schemas.microsoft.com/office/drawing/2014/main" id="{5BA9D00F-D25F-44E1-2D76-761A73A1C4D4}"/>
              </a:ext>
            </a:extLst>
          </p:cNvPr>
          <p:cNvSpPr/>
          <p:nvPr userDrawn="1"/>
        </p:nvSpPr>
        <p:spPr>
          <a:xfrm>
            <a:off x="6154370"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39" name="Rectangle: Top Corners Rounded 90">
            <a:extLst>
              <a:ext uri="{FF2B5EF4-FFF2-40B4-BE49-F238E27FC236}">
                <a16:creationId xmlns:a16="http://schemas.microsoft.com/office/drawing/2014/main" id="{4C5CB134-B553-996E-128D-E5954126865F}"/>
              </a:ext>
            </a:extLst>
          </p:cNvPr>
          <p:cNvSpPr/>
          <p:nvPr userDrawn="1"/>
        </p:nvSpPr>
        <p:spPr>
          <a:xfrm>
            <a:off x="6953066"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52" name="Rectangle: Top Corners Rounded 91">
            <a:extLst>
              <a:ext uri="{FF2B5EF4-FFF2-40B4-BE49-F238E27FC236}">
                <a16:creationId xmlns:a16="http://schemas.microsoft.com/office/drawing/2014/main" id="{14025E99-4AE8-CB5F-3E07-042D2CBA39CB}"/>
              </a:ext>
            </a:extLst>
          </p:cNvPr>
          <p:cNvSpPr/>
          <p:nvPr userDrawn="1"/>
        </p:nvSpPr>
        <p:spPr>
          <a:xfrm>
            <a:off x="7751762"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54" name="Rectangle: Top Corners Rounded 92">
            <a:extLst>
              <a:ext uri="{FF2B5EF4-FFF2-40B4-BE49-F238E27FC236}">
                <a16:creationId xmlns:a16="http://schemas.microsoft.com/office/drawing/2014/main" id="{55AEF4E9-17A1-DE72-44D1-74BE3620411C}"/>
              </a:ext>
            </a:extLst>
          </p:cNvPr>
          <p:cNvSpPr/>
          <p:nvPr userDrawn="1"/>
        </p:nvSpPr>
        <p:spPr>
          <a:xfrm>
            <a:off x="8550458"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55" name="Rectangle: Top Corners Rounded 93">
            <a:extLst>
              <a:ext uri="{FF2B5EF4-FFF2-40B4-BE49-F238E27FC236}">
                <a16:creationId xmlns:a16="http://schemas.microsoft.com/office/drawing/2014/main" id="{5D6CD067-B12F-0437-C4C5-DBA7AFE06630}"/>
              </a:ext>
            </a:extLst>
          </p:cNvPr>
          <p:cNvSpPr/>
          <p:nvPr userDrawn="1"/>
        </p:nvSpPr>
        <p:spPr>
          <a:xfrm>
            <a:off x="9349154"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57" name="Rectangle: Top Corners Rounded 94">
            <a:extLst>
              <a:ext uri="{FF2B5EF4-FFF2-40B4-BE49-F238E27FC236}">
                <a16:creationId xmlns:a16="http://schemas.microsoft.com/office/drawing/2014/main" id="{F8E20E54-A6F4-CD06-FC90-6DF1EAA9BDFC}"/>
              </a:ext>
            </a:extLst>
          </p:cNvPr>
          <p:cNvSpPr/>
          <p:nvPr userDrawn="1"/>
        </p:nvSpPr>
        <p:spPr>
          <a:xfrm>
            <a:off x="10147850" y="3701174"/>
            <a:ext cx="662848" cy="285778"/>
          </a:xfrm>
          <a:prstGeom prst="round2Same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58" name="Rectangle: Top Corners Rounded 95">
            <a:extLst>
              <a:ext uri="{FF2B5EF4-FFF2-40B4-BE49-F238E27FC236}">
                <a16:creationId xmlns:a16="http://schemas.microsoft.com/office/drawing/2014/main" id="{DD55D2A7-8635-8783-2D47-40E76853C10E}"/>
              </a:ext>
            </a:extLst>
          </p:cNvPr>
          <p:cNvSpPr/>
          <p:nvPr userDrawn="1"/>
        </p:nvSpPr>
        <p:spPr>
          <a:xfrm>
            <a:off x="10946539" y="3701174"/>
            <a:ext cx="662848" cy="285778"/>
          </a:xfrm>
          <a:prstGeom prst="round2Same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81" name="Text Placeholder 80">
            <a:extLst>
              <a:ext uri="{FF2B5EF4-FFF2-40B4-BE49-F238E27FC236}">
                <a16:creationId xmlns:a16="http://schemas.microsoft.com/office/drawing/2014/main" id="{D447AAA1-C086-C854-A4DD-97A390FAE7FB}"/>
              </a:ext>
            </a:extLst>
          </p:cNvPr>
          <p:cNvSpPr>
            <a:spLocks noGrp="1"/>
          </p:cNvSpPr>
          <p:nvPr>
            <p:ph type="body" sz="quarter" idx="10" hasCustomPrompt="1"/>
          </p:nvPr>
        </p:nvSpPr>
        <p:spPr>
          <a:xfrm>
            <a:off x="695144" y="1328551"/>
            <a:ext cx="3174325" cy="246221"/>
          </a:xfrm>
        </p:spPr>
        <p:txBody>
          <a:bodyPr/>
          <a:lstStyle>
            <a:lvl1pPr marL="0" indent="0" algn="l" defTabSz="932472" rtl="0" eaLnBrk="1" fontAlgn="base" latinLnBrk="0" hangingPunct="1">
              <a:lnSpc>
                <a:spcPct val="100000"/>
              </a:lnSpc>
              <a:spcBef>
                <a:spcPct val="0"/>
              </a:spcBef>
              <a:spcAft>
                <a:spcPct val="0"/>
              </a:spcAft>
              <a:buFont typeface="Arial" panose="020B0604020202020204" pitchFamily="34" charset="0"/>
              <a:buNone/>
              <a:defRPr lang="en-GB" sz="1600" b="1" i="0" kern="1200" cap="none" spc="0" baseline="0" dirty="0" smtClean="0">
                <a:ln w="3175">
                  <a:noFill/>
                </a:ln>
                <a:solidFill>
                  <a:schemeClr val="tx1"/>
                </a:solidFill>
                <a:effectLst/>
                <a:latin typeface="+mj-lt"/>
                <a:ea typeface="+mn-ea"/>
                <a:cs typeface="Segoe UI" pitchFamily="34" charset="0"/>
              </a:defRPr>
            </a:lvl1pPr>
            <a:lvl2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2pPr>
            <a:lvl3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3pPr>
            <a:lvl4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4pPr>
            <a:lvl5pPr marL="0" indent="0" algn="l" defTabSz="932472" rtl="0" eaLnBrk="1" fontAlgn="base" latinLnBrk="0" hangingPunct="1">
              <a:lnSpc>
                <a:spcPct val="100000"/>
              </a:lnSpc>
              <a:spcBef>
                <a:spcPct val="0"/>
              </a:spcBef>
              <a:spcAft>
                <a:spcPct val="0"/>
              </a:spcAft>
              <a:buNone/>
              <a:defRPr lang="en-GB" sz="1600" b="1" i="0" kern="1200" cap="none" spc="0" baseline="0" dirty="0">
                <a:ln w="3175">
                  <a:noFill/>
                </a:ln>
                <a:solidFill>
                  <a:schemeClr val="tx1"/>
                </a:solidFill>
                <a:effectLst/>
                <a:latin typeface="+mj-lt"/>
                <a:ea typeface="+mn-ea"/>
                <a:cs typeface="Segoe UI" pitchFamily="34" charset="0"/>
              </a:defRPr>
            </a:lvl5pPr>
          </a:lstStyle>
          <a:p>
            <a:pPr lvl="0"/>
            <a:r>
              <a:rPr lang="en-GB"/>
              <a:t>Click to add text</a:t>
            </a:r>
          </a:p>
        </p:txBody>
      </p:sp>
      <p:sp>
        <p:nvSpPr>
          <p:cNvPr id="82" name="Text Placeholder 80">
            <a:extLst>
              <a:ext uri="{FF2B5EF4-FFF2-40B4-BE49-F238E27FC236}">
                <a16:creationId xmlns:a16="http://schemas.microsoft.com/office/drawing/2014/main" id="{560E1DF2-50C3-5420-9B02-CD5A8E23E5B3}"/>
              </a:ext>
            </a:extLst>
          </p:cNvPr>
          <p:cNvSpPr>
            <a:spLocks noGrp="1"/>
          </p:cNvSpPr>
          <p:nvPr>
            <p:ph type="body" sz="quarter" idx="11" hasCustomPrompt="1"/>
          </p:nvPr>
        </p:nvSpPr>
        <p:spPr>
          <a:xfrm>
            <a:off x="695144" y="2242262"/>
            <a:ext cx="3174325" cy="246221"/>
          </a:xfrm>
        </p:spPr>
        <p:txBody>
          <a:bodyPr/>
          <a:lstStyle>
            <a:lvl1pPr marL="0" indent="0" algn="l" defTabSz="932472" rtl="0" eaLnBrk="1" fontAlgn="base" latinLnBrk="0" hangingPunct="1">
              <a:lnSpc>
                <a:spcPct val="100000"/>
              </a:lnSpc>
              <a:spcBef>
                <a:spcPct val="0"/>
              </a:spcBef>
              <a:spcAft>
                <a:spcPct val="0"/>
              </a:spcAft>
              <a:buFont typeface="Arial" panose="020B0604020202020204" pitchFamily="34" charset="0"/>
              <a:buNone/>
              <a:defRPr lang="en-GB" sz="1600" b="1" i="0" kern="1200" cap="none" spc="0" baseline="0" dirty="0" smtClean="0">
                <a:ln w="3175">
                  <a:noFill/>
                </a:ln>
                <a:solidFill>
                  <a:schemeClr val="tx1"/>
                </a:solidFill>
                <a:effectLst/>
                <a:latin typeface="+mj-lt"/>
                <a:ea typeface="+mn-ea"/>
                <a:cs typeface="Segoe UI" pitchFamily="34" charset="0"/>
              </a:defRPr>
            </a:lvl1pPr>
            <a:lvl2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2pPr>
            <a:lvl3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3pPr>
            <a:lvl4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4pPr>
            <a:lvl5pPr marL="0" indent="0" algn="l" defTabSz="932472" rtl="0" eaLnBrk="1" fontAlgn="base" latinLnBrk="0" hangingPunct="1">
              <a:lnSpc>
                <a:spcPct val="100000"/>
              </a:lnSpc>
              <a:spcBef>
                <a:spcPct val="0"/>
              </a:spcBef>
              <a:spcAft>
                <a:spcPct val="0"/>
              </a:spcAft>
              <a:buNone/>
              <a:defRPr lang="en-GB" sz="1600" b="1" i="0" kern="1200" cap="none" spc="0" baseline="0" dirty="0">
                <a:ln w="3175">
                  <a:noFill/>
                </a:ln>
                <a:solidFill>
                  <a:schemeClr val="tx1"/>
                </a:solidFill>
                <a:effectLst/>
                <a:latin typeface="+mj-lt"/>
                <a:ea typeface="+mn-ea"/>
                <a:cs typeface="Segoe UI" pitchFamily="34" charset="0"/>
              </a:defRPr>
            </a:lvl5pPr>
          </a:lstStyle>
          <a:p>
            <a:pPr lvl="0"/>
            <a:r>
              <a:rPr lang="en-GB"/>
              <a:t>Click to add text</a:t>
            </a:r>
          </a:p>
        </p:txBody>
      </p:sp>
      <p:sp>
        <p:nvSpPr>
          <p:cNvPr id="83" name="Text Placeholder 80">
            <a:extLst>
              <a:ext uri="{FF2B5EF4-FFF2-40B4-BE49-F238E27FC236}">
                <a16:creationId xmlns:a16="http://schemas.microsoft.com/office/drawing/2014/main" id="{9001FA6A-60A2-DAA1-F660-A777E3D950B6}"/>
              </a:ext>
            </a:extLst>
          </p:cNvPr>
          <p:cNvSpPr>
            <a:spLocks noGrp="1"/>
          </p:cNvSpPr>
          <p:nvPr>
            <p:ph type="body" sz="quarter" idx="12" hasCustomPrompt="1"/>
          </p:nvPr>
        </p:nvSpPr>
        <p:spPr>
          <a:xfrm>
            <a:off x="695144" y="3144249"/>
            <a:ext cx="3174325" cy="246221"/>
          </a:xfrm>
        </p:spPr>
        <p:txBody>
          <a:bodyPr/>
          <a:lstStyle>
            <a:lvl1pPr marL="0" indent="0" algn="l" defTabSz="932472" rtl="0" eaLnBrk="1" fontAlgn="base" latinLnBrk="0" hangingPunct="1">
              <a:lnSpc>
                <a:spcPct val="100000"/>
              </a:lnSpc>
              <a:spcBef>
                <a:spcPct val="0"/>
              </a:spcBef>
              <a:spcAft>
                <a:spcPct val="0"/>
              </a:spcAft>
              <a:buFont typeface="Arial" panose="020B0604020202020204" pitchFamily="34" charset="0"/>
              <a:buNone/>
              <a:defRPr lang="en-GB" sz="1600" b="1" i="0" kern="1200" cap="none" spc="0" baseline="0" dirty="0" smtClean="0">
                <a:ln w="3175">
                  <a:noFill/>
                </a:ln>
                <a:solidFill>
                  <a:schemeClr val="tx1"/>
                </a:solidFill>
                <a:effectLst/>
                <a:latin typeface="+mj-lt"/>
                <a:ea typeface="+mn-ea"/>
                <a:cs typeface="Segoe UI" pitchFamily="34" charset="0"/>
              </a:defRPr>
            </a:lvl1pPr>
            <a:lvl2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2pPr>
            <a:lvl3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3pPr>
            <a:lvl4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4pPr>
            <a:lvl5pPr marL="0" indent="0" algn="l" defTabSz="932472" rtl="0" eaLnBrk="1" fontAlgn="base" latinLnBrk="0" hangingPunct="1">
              <a:lnSpc>
                <a:spcPct val="100000"/>
              </a:lnSpc>
              <a:spcBef>
                <a:spcPct val="0"/>
              </a:spcBef>
              <a:spcAft>
                <a:spcPct val="0"/>
              </a:spcAft>
              <a:buNone/>
              <a:defRPr lang="en-GB" sz="1600" b="1" i="0" kern="1200" cap="none" spc="0" baseline="0" dirty="0">
                <a:ln w="3175">
                  <a:noFill/>
                </a:ln>
                <a:solidFill>
                  <a:schemeClr val="tx1"/>
                </a:solidFill>
                <a:effectLst/>
                <a:latin typeface="+mj-lt"/>
                <a:ea typeface="+mn-ea"/>
                <a:cs typeface="Segoe UI" pitchFamily="34" charset="0"/>
              </a:defRPr>
            </a:lvl5pPr>
          </a:lstStyle>
          <a:p>
            <a:pPr lvl="0"/>
            <a:r>
              <a:rPr lang="en-GB"/>
              <a:t>Click to add text</a:t>
            </a:r>
          </a:p>
        </p:txBody>
      </p:sp>
      <p:sp>
        <p:nvSpPr>
          <p:cNvPr id="133" name="Text Placeholder 93">
            <a:extLst>
              <a:ext uri="{FF2B5EF4-FFF2-40B4-BE49-F238E27FC236}">
                <a16:creationId xmlns:a16="http://schemas.microsoft.com/office/drawing/2014/main" id="{DCB14B03-7778-1E30-622A-86EC7D0922E9}"/>
              </a:ext>
            </a:extLst>
          </p:cNvPr>
          <p:cNvSpPr>
            <a:spLocks noGrp="1"/>
          </p:cNvSpPr>
          <p:nvPr>
            <p:ph type="body" sz="quarter" idx="49" hasCustomPrompt="1"/>
          </p:nvPr>
        </p:nvSpPr>
        <p:spPr>
          <a:xfrm>
            <a:off x="584200"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34" name="Text Placeholder 93">
            <a:extLst>
              <a:ext uri="{FF2B5EF4-FFF2-40B4-BE49-F238E27FC236}">
                <a16:creationId xmlns:a16="http://schemas.microsoft.com/office/drawing/2014/main" id="{FC3DBCCD-64B8-478A-9C8E-3C0BC022F6CC}"/>
              </a:ext>
            </a:extLst>
          </p:cNvPr>
          <p:cNvSpPr>
            <a:spLocks noGrp="1"/>
          </p:cNvSpPr>
          <p:nvPr>
            <p:ph type="body" sz="quarter" idx="50" hasCustomPrompt="1"/>
          </p:nvPr>
        </p:nvSpPr>
        <p:spPr>
          <a:xfrm>
            <a:off x="1362194"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35" name="Text Placeholder 93">
            <a:extLst>
              <a:ext uri="{FF2B5EF4-FFF2-40B4-BE49-F238E27FC236}">
                <a16:creationId xmlns:a16="http://schemas.microsoft.com/office/drawing/2014/main" id="{A15D2293-5C83-7ECB-FC7B-0788281B8ECE}"/>
              </a:ext>
            </a:extLst>
          </p:cNvPr>
          <p:cNvSpPr>
            <a:spLocks noGrp="1"/>
          </p:cNvSpPr>
          <p:nvPr>
            <p:ph type="body" sz="quarter" idx="51" hasCustomPrompt="1"/>
          </p:nvPr>
        </p:nvSpPr>
        <p:spPr>
          <a:xfrm>
            <a:off x="2160890"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36" name="Text Placeholder 93">
            <a:extLst>
              <a:ext uri="{FF2B5EF4-FFF2-40B4-BE49-F238E27FC236}">
                <a16:creationId xmlns:a16="http://schemas.microsoft.com/office/drawing/2014/main" id="{45770D5E-3366-5E11-621A-4BF55E9D767A}"/>
              </a:ext>
            </a:extLst>
          </p:cNvPr>
          <p:cNvSpPr>
            <a:spLocks noGrp="1"/>
          </p:cNvSpPr>
          <p:nvPr>
            <p:ph type="body" sz="quarter" idx="52" hasCustomPrompt="1"/>
          </p:nvPr>
        </p:nvSpPr>
        <p:spPr>
          <a:xfrm>
            <a:off x="2959586"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37" name="Text Placeholder 93">
            <a:extLst>
              <a:ext uri="{FF2B5EF4-FFF2-40B4-BE49-F238E27FC236}">
                <a16:creationId xmlns:a16="http://schemas.microsoft.com/office/drawing/2014/main" id="{E6B44116-2372-FE33-AA56-C0C0B6F49540}"/>
              </a:ext>
            </a:extLst>
          </p:cNvPr>
          <p:cNvSpPr>
            <a:spLocks noGrp="1"/>
          </p:cNvSpPr>
          <p:nvPr>
            <p:ph type="body" sz="quarter" idx="53" hasCustomPrompt="1"/>
          </p:nvPr>
        </p:nvSpPr>
        <p:spPr>
          <a:xfrm>
            <a:off x="3758282"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38" name="Text Placeholder 93">
            <a:extLst>
              <a:ext uri="{FF2B5EF4-FFF2-40B4-BE49-F238E27FC236}">
                <a16:creationId xmlns:a16="http://schemas.microsoft.com/office/drawing/2014/main" id="{EBA9F743-3A54-7FBC-8F47-7F7427102BDE}"/>
              </a:ext>
            </a:extLst>
          </p:cNvPr>
          <p:cNvSpPr>
            <a:spLocks noGrp="1"/>
          </p:cNvSpPr>
          <p:nvPr>
            <p:ph type="body" sz="quarter" idx="54" hasCustomPrompt="1"/>
          </p:nvPr>
        </p:nvSpPr>
        <p:spPr>
          <a:xfrm>
            <a:off x="4556978"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39" name="Text Placeholder 93">
            <a:extLst>
              <a:ext uri="{FF2B5EF4-FFF2-40B4-BE49-F238E27FC236}">
                <a16:creationId xmlns:a16="http://schemas.microsoft.com/office/drawing/2014/main" id="{AF28D600-7373-C1A2-86C2-64CB7C9AFF5E}"/>
              </a:ext>
            </a:extLst>
          </p:cNvPr>
          <p:cNvSpPr>
            <a:spLocks noGrp="1"/>
          </p:cNvSpPr>
          <p:nvPr>
            <p:ph type="body" sz="quarter" idx="55" hasCustomPrompt="1"/>
          </p:nvPr>
        </p:nvSpPr>
        <p:spPr>
          <a:xfrm>
            <a:off x="5355674"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40" name="Text Placeholder 93">
            <a:extLst>
              <a:ext uri="{FF2B5EF4-FFF2-40B4-BE49-F238E27FC236}">
                <a16:creationId xmlns:a16="http://schemas.microsoft.com/office/drawing/2014/main" id="{00A71D42-2CE6-B0A1-F566-73AEAAB5D8C3}"/>
              </a:ext>
            </a:extLst>
          </p:cNvPr>
          <p:cNvSpPr>
            <a:spLocks noGrp="1"/>
          </p:cNvSpPr>
          <p:nvPr>
            <p:ph type="body" sz="quarter" idx="56" hasCustomPrompt="1"/>
          </p:nvPr>
        </p:nvSpPr>
        <p:spPr>
          <a:xfrm>
            <a:off x="6154370"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41" name="Text Placeholder 93">
            <a:extLst>
              <a:ext uri="{FF2B5EF4-FFF2-40B4-BE49-F238E27FC236}">
                <a16:creationId xmlns:a16="http://schemas.microsoft.com/office/drawing/2014/main" id="{488B8D04-7391-563A-279A-E5B606FF105A}"/>
              </a:ext>
            </a:extLst>
          </p:cNvPr>
          <p:cNvSpPr>
            <a:spLocks noGrp="1"/>
          </p:cNvSpPr>
          <p:nvPr>
            <p:ph type="body" sz="quarter" idx="57" hasCustomPrompt="1"/>
          </p:nvPr>
        </p:nvSpPr>
        <p:spPr>
          <a:xfrm>
            <a:off x="6953066"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42" name="Text Placeholder 93">
            <a:extLst>
              <a:ext uri="{FF2B5EF4-FFF2-40B4-BE49-F238E27FC236}">
                <a16:creationId xmlns:a16="http://schemas.microsoft.com/office/drawing/2014/main" id="{FE958769-D7EE-2DF2-62CC-45628C34E0D5}"/>
              </a:ext>
            </a:extLst>
          </p:cNvPr>
          <p:cNvSpPr>
            <a:spLocks noGrp="1"/>
          </p:cNvSpPr>
          <p:nvPr>
            <p:ph type="body" sz="quarter" idx="58" hasCustomPrompt="1"/>
          </p:nvPr>
        </p:nvSpPr>
        <p:spPr>
          <a:xfrm>
            <a:off x="7751762"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43" name="Text Placeholder 93">
            <a:extLst>
              <a:ext uri="{FF2B5EF4-FFF2-40B4-BE49-F238E27FC236}">
                <a16:creationId xmlns:a16="http://schemas.microsoft.com/office/drawing/2014/main" id="{92DFF310-7BF6-0798-F9CE-711EF4F2CEED}"/>
              </a:ext>
            </a:extLst>
          </p:cNvPr>
          <p:cNvSpPr>
            <a:spLocks noGrp="1"/>
          </p:cNvSpPr>
          <p:nvPr>
            <p:ph type="body" sz="quarter" idx="59" hasCustomPrompt="1"/>
          </p:nvPr>
        </p:nvSpPr>
        <p:spPr>
          <a:xfrm>
            <a:off x="8550458"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44" name="Text Placeholder 93">
            <a:extLst>
              <a:ext uri="{FF2B5EF4-FFF2-40B4-BE49-F238E27FC236}">
                <a16:creationId xmlns:a16="http://schemas.microsoft.com/office/drawing/2014/main" id="{9E84F7B6-E18E-2D71-0EDB-7B1691DD6A22}"/>
              </a:ext>
            </a:extLst>
          </p:cNvPr>
          <p:cNvSpPr>
            <a:spLocks noGrp="1"/>
          </p:cNvSpPr>
          <p:nvPr>
            <p:ph type="body" sz="quarter" idx="60" hasCustomPrompt="1"/>
          </p:nvPr>
        </p:nvSpPr>
        <p:spPr>
          <a:xfrm>
            <a:off x="9349154"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45" name="Text Placeholder 93">
            <a:extLst>
              <a:ext uri="{FF2B5EF4-FFF2-40B4-BE49-F238E27FC236}">
                <a16:creationId xmlns:a16="http://schemas.microsoft.com/office/drawing/2014/main" id="{CFB32903-2988-E078-646B-D2C013F8A63E}"/>
              </a:ext>
            </a:extLst>
          </p:cNvPr>
          <p:cNvSpPr>
            <a:spLocks noGrp="1"/>
          </p:cNvSpPr>
          <p:nvPr>
            <p:ph type="body" sz="quarter" idx="61" hasCustomPrompt="1"/>
          </p:nvPr>
        </p:nvSpPr>
        <p:spPr>
          <a:xfrm>
            <a:off x="10147850"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46" name="Text Placeholder 93">
            <a:extLst>
              <a:ext uri="{FF2B5EF4-FFF2-40B4-BE49-F238E27FC236}">
                <a16:creationId xmlns:a16="http://schemas.microsoft.com/office/drawing/2014/main" id="{E4CDD75E-A347-50CF-6B47-E1769332FFAA}"/>
              </a:ext>
            </a:extLst>
          </p:cNvPr>
          <p:cNvSpPr>
            <a:spLocks noGrp="1"/>
          </p:cNvSpPr>
          <p:nvPr>
            <p:ph type="body" sz="quarter" idx="62" hasCustomPrompt="1"/>
          </p:nvPr>
        </p:nvSpPr>
        <p:spPr>
          <a:xfrm>
            <a:off x="10946539"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48" name="Text Placeholder 93">
            <a:extLst>
              <a:ext uri="{FF2B5EF4-FFF2-40B4-BE49-F238E27FC236}">
                <a16:creationId xmlns:a16="http://schemas.microsoft.com/office/drawing/2014/main" id="{91F3259E-74B2-D62A-6A33-A01AE2EF4F55}"/>
              </a:ext>
            </a:extLst>
          </p:cNvPr>
          <p:cNvSpPr>
            <a:spLocks noGrp="1"/>
          </p:cNvSpPr>
          <p:nvPr>
            <p:ph type="body" sz="quarter" idx="63" hasCustomPrompt="1"/>
          </p:nvPr>
        </p:nvSpPr>
        <p:spPr>
          <a:xfrm>
            <a:off x="950276" y="5042156"/>
            <a:ext cx="1504794" cy="96581"/>
          </a:xfrm>
          <a:prstGeom prst="rect">
            <a:avLst/>
          </a:prstGeom>
        </p:spPr>
        <p:txBody>
          <a:bodyPr lIns="0" tIns="0" rIns="0" bIns="0" anchor="ctr">
            <a:noAutofit/>
          </a:bodyPr>
          <a:lstStyle>
            <a:lvl1pPr marL="0" indent="0">
              <a:lnSpc>
                <a:spcPct val="100000"/>
              </a:lnSpc>
              <a:buNone/>
              <a:defRPr lang="en-GB" sz="900" b="1" i="0" kern="1200" dirty="0">
                <a:solidFill>
                  <a:schemeClr val="tx1"/>
                </a:solidFill>
                <a:latin typeface="Segoe Sans Text Semibold" pitchFamily="2" charset="0"/>
                <a:ea typeface="+mn-ea"/>
                <a:cs typeface="+mn-cs"/>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ts val="0"/>
              </a:spcBef>
              <a:spcAft>
                <a:spcPts val="0"/>
              </a:spcAft>
              <a:buClrTx/>
              <a:buSzTx/>
              <a:tabLst/>
              <a:defRPr/>
            </a:pPr>
            <a:r>
              <a:rPr lang="en-GB"/>
              <a:t>Click to add text</a:t>
            </a:r>
          </a:p>
        </p:txBody>
      </p:sp>
      <p:sp>
        <p:nvSpPr>
          <p:cNvPr id="149" name="Text Placeholder 93">
            <a:extLst>
              <a:ext uri="{FF2B5EF4-FFF2-40B4-BE49-F238E27FC236}">
                <a16:creationId xmlns:a16="http://schemas.microsoft.com/office/drawing/2014/main" id="{EA936C05-1007-F26C-6067-6EF334C61EC4}"/>
              </a:ext>
            </a:extLst>
          </p:cNvPr>
          <p:cNvSpPr>
            <a:spLocks noGrp="1"/>
          </p:cNvSpPr>
          <p:nvPr>
            <p:ph type="body" sz="quarter" idx="64" hasCustomPrompt="1"/>
          </p:nvPr>
        </p:nvSpPr>
        <p:spPr>
          <a:xfrm>
            <a:off x="950276" y="5235036"/>
            <a:ext cx="1504794" cy="96581"/>
          </a:xfrm>
          <a:prstGeom prst="rect">
            <a:avLst/>
          </a:prstGeom>
        </p:spPr>
        <p:txBody>
          <a:bodyPr lIns="0" tIns="0" rIns="0" bIns="0" anchor="ctr">
            <a:noAutofit/>
          </a:bodyPr>
          <a:lstStyle>
            <a:lvl1pPr marL="0" indent="0">
              <a:lnSpc>
                <a:spcPct val="100000"/>
              </a:lnSpc>
              <a:buNone/>
              <a:defRPr lang="en-GB" sz="900" b="1" i="0" kern="1200" dirty="0">
                <a:solidFill>
                  <a:schemeClr val="tx1"/>
                </a:solidFill>
                <a:latin typeface="Segoe Sans Text Semibold" pitchFamily="2" charset="0"/>
                <a:ea typeface="+mn-ea"/>
                <a:cs typeface="+mn-cs"/>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ts val="0"/>
              </a:spcBef>
              <a:spcAft>
                <a:spcPts val="0"/>
              </a:spcAft>
              <a:buClrTx/>
              <a:buSzTx/>
              <a:tabLst/>
              <a:defRPr/>
            </a:pPr>
            <a:r>
              <a:rPr lang="en-GB"/>
              <a:t>Click to add text</a:t>
            </a:r>
          </a:p>
        </p:txBody>
      </p:sp>
      <p:sp>
        <p:nvSpPr>
          <p:cNvPr id="150" name="Text Placeholder 93">
            <a:extLst>
              <a:ext uri="{FF2B5EF4-FFF2-40B4-BE49-F238E27FC236}">
                <a16:creationId xmlns:a16="http://schemas.microsoft.com/office/drawing/2014/main" id="{B4F080E6-E8FE-73B6-4C42-0008AD84160B}"/>
              </a:ext>
            </a:extLst>
          </p:cNvPr>
          <p:cNvSpPr>
            <a:spLocks noGrp="1"/>
          </p:cNvSpPr>
          <p:nvPr>
            <p:ph type="body" sz="quarter" idx="65" hasCustomPrompt="1"/>
          </p:nvPr>
        </p:nvSpPr>
        <p:spPr>
          <a:xfrm>
            <a:off x="950276" y="5420774"/>
            <a:ext cx="1504794" cy="96581"/>
          </a:xfrm>
          <a:prstGeom prst="rect">
            <a:avLst/>
          </a:prstGeom>
        </p:spPr>
        <p:txBody>
          <a:bodyPr lIns="0" tIns="0" rIns="0" bIns="0" anchor="ctr">
            <a:noAutofit/>
          </a:bodyPr>
          <a:lstStyle>
            <a:lvl1pPr marL="0" indent="0">
              <a:lnSpc>
                <a:spcPct val="100000"/>
              </a:lnSpc>
              <a:buNone/>
              <a:defRPr lang="en-GB" sz="900" b="1" i="0" kern="1200" dirty="0">
                <a:solidFill>
                  <a:schemeClr val="tx1"/>
                </a:solidFill>
                <a:latin typeface="Segoe Sans Text Semibold" pitchFamily="2" charset="0"/>
                <a:ea typeface="+mn-ea"/>
                <a:cs typeface="+mn-cs"/>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ts val="0"/>
              </a:spcBef>
              <a:spcAft>
                <a:spcPts val="0"/>
              </a:spcAft>
              <a:buClrTx/>
              <a:buSzTx/>
              <a:tabLst/>
              <a:defRPr/>
            </a:pPr>
            <a:r>
              <a:rPr lang="en-GB"/>
              <a:t>Click to add text</a:t>
            </a:r>
          </a:p>
        </p:txBody>
      </p:sp>
      <p:sp>
        <p:nvSpPr>
          <p:cNvPr id="151" name="Text Placeholder 93">
            <a:extLst>
              <a:ext uri="{FF2B5EF4-FFF2-40B4-BE49-F238E27FC236}">
                <a16:creationId xmlns:a16="http://schemas.microsoft.com/office/drawing/2014/main" id="{55AF27A4-1067-9E63-098F-8C5AC7BDF073}"/>
              </a:ext>
            </a:extLst>
          </p:cNvPr>
          <p:cNvSpPr>
            <a:spLocks noGrp="1"/>
          </p:cNvSpPr>
          <p:nvPr>
            <p:ph type="body" sz="quarter" idx="66" hasCustomPrompt="1"/>
          </p:nvPr>
        </p:nvSpPr>
        <p:spPr>
          <a:xfrm>
            <a:off x="950276" y="5616038"/>
            <a:ext cx="1504794" cy="96581"/>
          </a:xfrm>
          <a:prstGeom prst="rect">
            <a:avLst/>
          </a:prstGeom>
        </p:spPr>
        <p:txBody>
          <a:bodyPr lIns="0" tIns="0" rIns="0" bIns="0" anchor="ctr">
            <a:noAutofit/>
          </a:bodyPr>
          <a:lstStyle>
            <a:lvl1pPr marL="0" indent="0">
              <a:lnSpc>
                <a:spcPct val="100000"/>
              </a:lnSpc>
              <a:buNone/>
              <a:defRPr lang="en-GB" sz="900" b="1" i="0" kern="1200" dirty="0">
                <a:solidFill>
                  <a:schemeClr val="tx1"/>
                </a:solidFill>
                <a:latin typeface="Segoe Sans Text Semibold" pitchFamily="2" charset="0"/>
                <a:ea typeface="+mn-ea"/>
                <a:cs typeface="+mn-cs"/>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ts val="0"/>
              </a:spcBef>
              <a:spcAft>
                <a:spcPts val="0"/>
              </a:spcAft>
              <a:buClrTx/>
              <a:buSzTx/>
              <a:tabLst/>
              <a:defRPr/>
            </a:pPr>
            <a:r>
              <a:rPr lang="en-GB"/>
              <a:t>Click to add text</a:t>
            </a:r>
          </a:p>
        </p:txBody>
      </p:sp>
      <p:sp>
        <p:nvSpPr>
          <p:cNvPr id="152" name="Text Placeholder 93">
            <a:extLst>
              <a:ext uri="{FF2B5EF4-FFF2-40B4-BE49-F238E27FC236}">
                <a16:creationId xmlns:a16="http://schemas.microsoft.com/office/drawing/2014/main" id="{E68E6C50-AAA5-A4F5-C76E-B3CC93D6D2BD}"/>
              </a:ext>
            </a:extLst>
          </p:cNvPr>
          <p:cNvSpPr>
            <a:spLocks noGrp="1"/>
          </p:cNvSpPr>
          <p:nvPr>
            <p:ph type="body" sz="quarter" idx="67" hasCustomPrompt="1"/>
          </p:nvPr>
        </p:nvSpPr>
        <p:spPr>
          <a:xfrm>
            <a:off x="950276" y="5804157"/>
            <a:ext cx="1504794" cy="96581"/>
          </a:xfrm>
          <a:prstGeom prst="rect">
            <a:avLst/>
          </a:prstGeom>
        </p:spPr>
        <p:txBody>
          <a:bodyPr lIns="0" tIns="0" rIns="0" bIns="0" anchor="ctr">
            <a:noAutofit/>
          </a:bodyPr>
          <a:lstStyle>
            <a:lvl1pPr marL="0" indent="0">
              <a:lnSpc>
                <a:spcPct val="100000"/>
              </a:lnSpc>
              <a:buNone/>
              <a:defRPr lang="en-GB" sz="900" b="1" i="0" kern="1200" dirty="0">
                <a:solidFill>
                  <a:schemeClr val="tx1"/>
                </a:solidFill>
                <a:latin typeface="Segoe Sans Text Semibold" pitchFamily="2" charset="0"/>
                <a:ea typeface="+mn-ea"/>
                <a:cs typeface="+mn-cs"/>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ts val="0"/>
              </a:spcBef>
              <a:spcAft>
                <a:spcPts val="0"/>
              </a:spcAft>
              <a:buClrTx/>
              <a:buSzTx/>
              <a:tabLst/>
              <a:defRPr/>
            </a:pPr>
            <a:r>
              <a:rPr lang="en-GB"/>
              <a:t>Click to add text</a:t>
            </a:r>
          </a:p>
        </p:txBody>
      </p:sp>
      <p:sp>
        <p:nvSpPr>
          <p:cNvPr id="153" name="Text Placeholder 93">
            <a:extLst>
              <a:ext uri="{FF2B5EF4-FFF2-40B4-BE49-F238E27FC236}">
                <a16:creationId xmlns:a16="http://schemas.microsoft.com/office/drawing/2014/main" id="{F3D10F7B-A0E9-1046-CA8B-ADF1B4775AAA}"/>
              </a:ext>
            </a:extLst>
          </p:cNvPr>
          <p:cNvSpPr>
            <a:spLocks noGrp="1"/>
          </p:cNvSpPr>
          <p:nvPr>
            <p:ph type="body" sz="quarter" idx="68" hasCustomPrompt="1"/>
          </p:nvPr>
        </p:nvSpPr>
        <p:spPr>
          <a:xfrm>
            <a:off x="950276" y="5997038"/>
            <a:ext cx="1504794" cy="96581"/>
          </a:xfrm>
          <a:prstGeom prst="rect">
            <a:avLst/>
          </a:prstGeom>
        </p:spPr>
        <p:txBody>
          <a:bodyPr lIns="0" tIns="0" rIns="0" bIns="0" anchor="ctr">
            <a:noAutofit/>
          </a:bodyPr>
          <a:lstStyle>
            <a:lvl1pPr marL="0" indent="0">
              <a:lnSpc>
                <a:spcPct val="100000"/>
              </a:lnSpc>
              <a:buNone/>
              <a:defRPr lang="en-GB" sz="900" b="1" i="0" kern="1200" dirty="0">
                <a:solidFill>
                  <a:schemeClr val="tx1"/>
                </a:solidFill>
                <a:latin typeface="Segoe Sans Text Semibold" pitchFamily="2" charset="0"/>
                <a:ea typeface="+mn-ea"/>
                <a:cs typeface="+mn-cs"/>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ts val="0"/>
              </a:spcBef>
              <a:spcAft>
                <a:spcPts val="0"/>
              </a:spcAft>
              <a:buClrTx/>
              <a:buSzTx/>
              <a:tabLst/>
              <a:defRPr/>
            </a:pPr>
            <a:r>
              <a:rPr lang="en-GB"/>
              <a:t>Click to add text</a:t>
            </a:r>
          </a:p>
        </p:txBody>
      </p:sp>
    </p:spTree>
    <p:custDataLst>
      <p:tags r:id="rId1"/>
    </p:custDataLst>
    <p:extLst>
      <p:ext uri="{BB962C8B-B14F-4D97-AF65-F5344CB8AC3E}">
        <p14:creationId xmlns:p14="http://schemas.microsoft.com/office/powerpoint/2010/main" val="2393699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42F05E89-D4DC-80C2-7D96-C3031E88ADC5}"/>
              </a:ext>
            </a:extLst>
          </p:cNvPr>
          <p:cNvPicPr>
            <a:picLocks noChangeAspect="1"/>
          </p:cNvPicPr>
          <p:nvPr userDrawn="1"/>
        </p:nvPicPr>
        <p:blipFill rotWithShape="1">
          <a:blip>
            <a:alphaModFix amt="40000"/>
            <a:extLst>
              <a:ext uri="{96DAC541-7B7A-43D3-8B79-37D633B846F1}">
                <asvg:svgBlip xmlns:asvg="http://schemas.microsoft.com/office/drawing/2016/SVG/main" r:embed="rId3"/>
              </a:ext>
            </a:extLst>
          </a:blip>
          <a:srcRect l="6728" t="15844" r="2559" b="24788"/>
          <a:stretch/>
        </p:blipFill>
        <p:spPr>
          <a:xfrm>
            <a:off x="0" y="2194560"/>
            <a:ext cx="12192000" cy="4663440"/>
          </a:xfrm>
          <a:prstGeom prst="rect">
            <a:avLst/>
          </a:prstGeom>
        </p:spPr>
      </p:pic>
      <p:sp>
        <p:nvSpPr>
          <p:cNvPr id="7" name="Rectangle 6">
            <a:extLst>
              <a:ext uri="{FF2B5EF4-FFF2-40B4-BE49-F238E27FC236}">
                <a16:creationId xmlns:a16="http://schemas.microsoft.com/office/drawing/2014/main" id="{E0577787-0ADD-2D27-4937-87FE05274DF1}"/>
              </a:ext>
            </a:extLst>
          </p:cNvPr>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2" y="457200"/>
            <a:ext cx="10674823" cy="553998"/>
          </a:xfrm>
        </p:spPr>
        <p:txBody>
          <a:bodyPr vert="horz" wrap="square" lIns="0" tIns="0" rIns="0" bIns="0" rtlCol="0" anchor="t">
            <a:spAutoFit/>
          </a:bodyPr>
          <a:lstStyle>
            <a:lvl1pPr>
              <a:defRPr lang="en-US" b="0" spc="0">
                <a:latin typeface="+mj-lt"/>
                <a:cs typeface="Segoe Sans Text" pitchFamily="2" charset="0"/>
              </a:defRPr>
            </a:lvl1pPr>
          </a:lstStyle>
          <a:p>
            <a:pPr lvl="0"/>
            <a:r>
              <a:rPr lang="en-US"/>
              <a:t>Click to edit Master title style</a:t>
            </a:r>
          </a:p>
        </p:txBody>
      </p:sp>
    </p:spTree>
    <p:custDataLst>
      <p:tags r:id="rId1"/>
    </p:custDataLst>
    <p:extLst>
      <p:ext uri="{BB962C8B-B14F-4D97-AF65-F5344CB8AC3E}">
        <p14:creationId xmlns:p14="http://schemas.microsoft.com/office/powerpoint/2010/main" val="31782795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170BB12D-8CE0-A385-EFC8-00809E995063}"/>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5841A6FB-2885-3BFF-70D4-A220E7814E50}"/>
              </a:ext>
            </a:extLst>
          </p:cNvPr>
          <p:cNvSpPr>
            <a:spLocks noGrp="1"/>
          </p:cNvSpPr>
          <p:nvPr>
            <p:ph type="title"/>
          </p:nvPr>
        </p:nvSpPr>
        <p:spPr>
          <a:xfrm>
            <a:off x="588263" y="2090220"/>
            <a:ext cx="5624968" cy="1588127"/>
          </a:xfrm>
          <a:prstGeom prst="rect">
            <a:avLst/>
          </a:prstGeom>
        </p:spPr>
        <p:txBody>
          <a:bodyPr wrap="square" lIns="0" tIns="45720" rIns="0" bIns="45720">
            <a:spAutoFit/>
          </a:bodyPr>
          <a:lstStyle>
            <a:lvl1pPr>
              <a:defRPr lang="en-US" sz="5400" spc="0" baseline="0">
                <a:ln>
                  <a:noFill/>
                </a:ln>
                <a:gradFill flip="none" rotWithShape="1">
                  <a:gsLst>
                    <a:gs pos="0">
                      <a:srgbClr val="94D8FE"/>
                    </a:gs>
                    <a:gs pos="100000">
                      <a:prstClr val="white"/>
                    </a:gs>
                  </a:gsLst>
                  <a:lin ang="16200000" scaled="1"/>
                  <a:tileRect/>
                </a:gradFill>
              </a:defRPr>
            </a:lvl1pPr>
          </a:lstStyle>
          <a:p>
            <a:pPr marL="0" lvl="0" defTabSz="457200">
              <a:lnSpc>
                <a:spcPct val="90000"/>
              </a:lnSpc>
              <a:spcBef>
                <a:spcPts val="0"/>
              </a:spcBef>
            </a:pPr>
            <a:r>
              <a:rPr lang="en-US"/>
              <a:t>Click to edit Master title style</a:t>
            </a:r>
          </a:p>
        </p:txBody>
      </p:sp>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4200" y="4253049"/>
            <a:ext cx="11018520" cy="1138773"/>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66898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Title Only with Dots">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p:nvGrpSpPr>
        <p:grpSpPr>
          <a:xfrm>
            <a:off x="0" y="-34036"/>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cxnSp>
        <p:nvCxnSpPr>
          <p:cNvPr id="8" name="Straight Connector 7">
            <a:extLst>
              <a:ext uri="{FF2B5EF4-FFF2-40B4-BE49-F238E27FC236}">
                <a16:creationId xmlns:a16="http://schemas.microsoft.com/office/drawing/2014/main" id="{63457DC0-0AC0-A79E-1A21-A71F46075257}"/>
              </a:ext>
              <a:ext uri="{C183D7F6-B498-43B3-948B-1728B52AA6E4}">
                <adec:decorative xmlns:adec="http://schemas.microsoft.com/office/drawing/2017/decorative" val="1"/>
              </a:ext>
            </a:extLst>
          </p:cNvPr>
          <p:cNvCxnSpPr>
            <a:cxnSpLocks/>
          </p:cNvCxnSpPr>
          <p:nvPr userDrawn="1"/>
        </p:nvCxnSpPr>
        <p:spPr>
          <a:xfrm>
            <a:off x="0" y="1493008"/>
            <a:ext cx="5418667" cy="0"/>
          </a:xfrm>
          <a:prstGeom prst="line">
            <a:avLst/>
          </a:prstGeom>
          <a:noFill/>
          <a:ln w="25400" cap="rnd">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10642674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nodeType="withEffect">
                                  <p:stCondLst>
                                    <p:cond delay="0"/>
                                  </p:stCondLst>
                                  <p:childTnLst>
                                    <p:animMotion origin="layout" path="M -0.01719 -0.00023 L 4.58333E-6 -4.07407E-6 " pathEditMode="relative" rAng="0" ptsTypes="AA">
                                      <p:cBhvr>
                                        <p:cTn id="9" dur="500" fill="hold"/>
                                        <p:tgtEl>
                                          <p:spTgt spid="8"/>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5488645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795546162"/>
      </p:ext>
    </p:extLst>
  </p:cSld>
  <p:clrMapOvr>
    <a:masterClrMapping/>
  </p:clrMapOvr>
  <p:transition>
    <p:fade/>
  </p:transition>
  <p:extLst>
    <p:ext uri="{DCECCB84-F9BA-43D5-87BE-67443E8EF086}">
      <p15:sldGuideLst xmlns:p15="http://schemas.microsoft.com/office/powerpoint/2012/main">
        <p15:guide id="17" pos="3840">
          <p15:clr>
            <a:srgbClr val="A4A3A4"/>
          </p15:clr>
        </p15:guide>
        <p15:guide id="28" orient="horz" pos="905">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_Panel with text and image">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p:nvGrpSpPr>
        <p:grpSpPr>
          <a:xfrm>
            <a:off x="0" y="-34036"/>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pic>
        <p:nvPicPr>
          <p:cNvPr id="3" name="Picture 2">
            <a:extLst>
              <a:ext uri="{FF2B5EF4-FFF2-40B4-BE49-F238E27FC236}">
                <a16:creationId xmlns:a16="http://schemas.microsoft.com/office/drawing/2014/main" id="{B1C05131-63AB-9757-BC02-10E068E169BA}"/>
              </a:ext>
              <a:ext uri="{C183D7F6-B498-43B3-948B-1728B52AA6E4}">
                <adec:decorative xmlns:adec="http://schemas.microsoft.com/office/drawing/2017/decorative" val="1"/>
              </a:ext>
            </a:extLst>
          </p:cNvPr>
          <p:cNvPicPr>
            <a:picLocks/>
          </p:cNvPicPr>
          <p:nvPr userDrawn="1"/>
        </p:nvPicPr>
        <p:blipFill rotWithShape="1">
          <a:blip r:embed="rId3">
            <a:alphaModFix amt="45000"/>
          </a:blip>
          <a:srcRect l="7533" t="35613" r="65955" b="15124"/>
          <a:stretch/>
        </p:blipFill>
        <p:spPr>
          <a:xfrm>
            <a:off x="323727" y="1493001"/>
            <a:ext cx="11556250" cy="4959271"/>
          </a:xfrm>
          <a:prstGeom prst="roundRect">
            <a:avLst>
              <a:gd name="adj" fmla="val 4739"/>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Tree>
    <p:extLst>
      <p:ext uri="{BB962C8B-B14F-4D97-AF65-F5344CB8AC3E}">
        <p14:creationId xmlns:p14="http://schemas.microsoft.com/office/powerpoint/2010/main" val="12812759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Blank 2">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106733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4745"/>
          <a:stretch>
            <a:fill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D0E162CF-D51E-042E-52CB-B4C7AD85FF93}"/>
              </a:ext>
            </a:extLst>
          </p:cNvPr>
          <p:cNvSpPr/>
          <p:nvPr userDrawn="1"/>
        </p:nvSpPr>
        <p:spPr bwMode="auto">
          <a:xfrm rot="16200000" flipH="1">
            <a:off x="3202634" y="-2045346"/>
            <a:ext cx="5786733" cy="11049002"/>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1182813" y="940284"/>
            <a:ext cx="10098100" cy="498598"/>
          </a:xfrm>
          <a:prstGeom prst="rect">
            <a:avLst/>
          </a:prstGeom>
        </p:spPr>
        <p:txBody>
          <a:bodyPr lIns="0" rIns="0"/>
          <a:lstStyle>
            <a:lvl1pPr>
              <a:defRPr spc="0" baseline="0">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1182813" y="1741480"/>
            <a:ext cx="10098100" cy="1612749"/>
          </a:xfrm>
          <a:prstGeom prst="rect">
            <a:avLst/>
          </a:prstGeom>
        </p:spPr>
        <p:txBody>
          <a:bodyPr vert="horz" wrap="square" lIns="0" tIns="0" rIns="0" bIns="0" rtlCol="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325369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40B3E2-2543-6A21-CBC3-324EA6159EDA}"/>
              </a:ext>
            </a:extLst>
          </p:cNvPr>
          <p:cNvSpPr/>
          <p:nvPr userDrawn="1"/>
        </p:nvSpPr>
        <p:spPr bwMode="auto">
          <a:xfrm>
            <a:off x="3048" y="0"/>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5" name="Picture 4" descr="A blurry image of a blue and orange sky&#10;&#10;AI-generated content may be incorrect.">
            <a:extLst>
              <a:ext uri="{FF2B5EF4-FFF2-40B4-BE49-F238E27FC236}">
                <a16:creationId xmlns:a16="http://schemas.microsoft.com/office/drawing/2014/main" id="{7ECCAC18-2F4F-C147-45FB-166E499C5522}"/>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6522" t="1189" r="13264" b="356"/>
          <a:stretch>
            <a:fillRect/>
          </a:stretch>
        </p:blipFill>
        <p:spPr>
          <a:xfrm rot="10800000" flipV="1">
            <a:off x="3621432" y="1"/>
            <a:ext cx="8567520" cy="6857999"/>
          </a:xfrm>
          <a:prstGeom prst="rect">
            <a:avLst/>
          </a:prstGeom>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4253948" y="2117026"/>
            <a:ext cx="7348772" cy="1465016"/>
          </a:xfrm>
          <a:prstGeom prst="rect">
            <a:avLst/>
          </a:prstGeom>
        </p:spPr>
        <p:txBody>
          <a:bodyPr vert="horz" wrap="square" lIns="0" tIns="0" rIns="0" bIns="0" rtlCol="0">
            <a:spAutoFit/>
          </a:bodyPr>
          <a:lstStyle>
            <a:lvl1pPr marL="0" indent="0">
              <a:buFontTx/>
              <a:buNone/>
              <a:defRPr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2117026"/>
            <a:ext cx="2373598"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83708218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89DEF3-0942-1417-41F0-756470802144}"/>
              </a:ext>
            </a:extLst>
          </p:cNvPr>
          <p:cNvSpPr/>
          <p:nvPr userDrawn="1"/>
        </p:nvSpPr>
        <p:spPr bwMode="auto">
          <a:xfrm>
            <a:off x="3048" y="0"/>
            <a:ext cx="12188952" cy="6858000"/>
          </a:xfrm>
          <a:prstGeom prst="rect">
            <a:avLst/>
          </a:prstGeom>
          <a:solidFill>
            <a:srgbClr val="151E47"/>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9DDE651D-7217-BBE7-49BC-45969F3319F3}"/>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983" t="-246" r="24" b="356"/>
          <a:stretch>
            <a:fillRect/>
          </a:stretch>
        </p:blipFill>
        <p:spPr>
          <a:xfrm flipH="1" flipV="1">
            <a:off x="6096000" y="4492"/>
            <a:ext cx="6095994"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9279"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79" y="1140036"/>
            <a:ext cx="4589008" cy="1297925"/>
          </a:xfrm>
          <a:prstGeom prst="rect">
            <a:avLst/>
          </a:prstGeom>
        </p:spPr>
        <p:txBody>
          <a:bodyPr lIns="0" rIns="0"/>
          <a:lstStyle>
            <a:lvl1pPr>
              <a:defRPr spc="0" baseline="0"/>
            </a:lvl1pPr>
          </a:lstStyle>
          <a:p>
            <a:r>
              <a:rPr lang="en-US"/>
              <a:t>Click to edit Master title style</a:t>
            </a:r>
          </a:p>
        </p:txBody>
      </p:sp>
      <p:sp>
        <p:nvSpPr>
          <p:cNvPr id="7" name="Text Placeholder 3">
            <a:extLst>
              <a:ext uri="{FF2B5EF4-FFF2-40B4-BE49-F238E27FC236}">
                <a16:creationId xmlns:a16="http://schemas.microsoft.com/office/drawing/2014/main" id="{8C2EA7BC-13E3-34AE-5CA1-6EACB20A3A70}"/>
              </a:ext>
            </a:extLst>
          </p:cNvPr>
          <p:cNvSpPr>
            <a:spLocks noGrp="1"/>
          </p:cNvSpPr>
          <p:nvPr>
            <p:ph idx="10"/>
          </p:nvPr>
        </p:nvSpPr>
        <p:spPr>
          <a:xfrm>
            <a:off x="7031492"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9FC8DB7-4630-1E38-B757-DD8B179A530D}"/>
              </a:ext>
            </a:extLst>
          </p:cNvPr>
          <p:cNvSpPr>
            <a:spLocks noGrp="1"/>
          </p:cNvSpPr>
          <p:nvPr>
            <p:ph idx="11" hasCustomPrompt="1"/>
          </p:nvPr>
        </p:nvSpPr>
        <p:spPr>
          <a:xfrm>
            <a:off x="7031492" y="1140036"/>
            <a:ext cx="4589008" cy="1107996"/>
          </a:xfrm>
          <a:prstGeom prst="rect">
            <a:avLst/>
          </a:prstGeom>
        </p:spPr>
        <p:txBody>
          <a:bodyPr vert="horz" wrap="square" lIns="0" tIns="0" rIns="0" bIns="0" rtlCol="0">
            <a:spAutoFit/>
          </a:bodyPr>
          <a:lstStyle>
            <a:lvl1pPr marL="0" indent="0" algn="l" defTabSz="932742" rtl="0" eaLnBrk="1" latinLnBrk="0" hangingPunct="1">
              <a:lnSpc>
                <a:spcPct val="100000"/>
              </a:lnSpc>
              <a:spcBef>
                <a:spcPct val="0"/>
              </a:spcBef>
              <a:buFontTx/>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itle style</a:t>
            </a:r>
          </a:p>
        </p:txBody>
      </p:sp>
    </p:spTree>
    <p:extLst>
      <p:ext uri="{BB962C8B-B14F-4D97-AF65-F5344CB8AC3E}">
        <p14:creationId xmlns:p14="http://schemas.microsoft.com/office/powerpoint/2010/main" val="26457093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86725FD6-88E3-D175-3BB1-C08805073FE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32D0726-123A-C3BC-D902-F43835E657A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4" name="Title 1">
            <a:extLst>
              <a:ext uri="{FF2B5EF4-FFF2-40B4-BE49-F238E27FC236}">
                <a16:creationId xmlns:a16="http://schemas.microsoft.com/office/drawing/2014/main" id="{DEE10654-E662-486A-91E4-A0B519907B3A}"/>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4458403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column bullet">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EC0129C9-611E-40C7-935F-FE79CCB43F1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0AF402B5-027B-5EC2-96FF-0F2D2940C8EC}"/>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itle 1">
            <a:extLst>
              <a:ext uri="{FF2B5EF4-FFF2-40B4-BE49-F238E27FC236}">
                <a16:creationId xmlns:a16="http://schemas.microsoft.com/office/drawing/2014/main" id="{E069B642-F814-0105-94A5-568EB275A72B}"/>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270301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title 3">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403" t="8437" r="24933" b="17871"/>
          <a:stretch>
            <a:fillRect/>
          </a:stretch>
        </p:blipFill>
        <p:spPr>
          <a:xfrm>
            <a:off x="5488599" y="-1"/>
            <a:ext cx="6721295" cy="6704117"/>
          </a:xfrm>
          <a:prstGeom prst="rect">
            <a:avLst/>
          </a:prstGeom>
        </p:spPr>
      </p:pic>
      <p:pic>
        <p:nvPicPr>
          <p:cNvPr id="9" name="Graphic 8">
            <a:extLst>
              <a:ext uri="{FF2B5EF4-FFF2-40B4-BE49-F238E27FC236}">
                <a16:creationId xmlns:a16="http://schemas.microsoft.com/office/drawing/2014/main" id="{E56B8725-F274-0386-69F7-43D4973C88FB}"/>
              </a:ext>
            </a:extLst>
          </p:cNvPr>
          <p:cNvPicPr>
            <a:picLocks noChangeAspect="1"/>
          </p:cNvPicPr>
          <p:nvPr userDrawn="1"/>
        </p:nvPicPr>
        <p:blipFill>
          <a:blip>
            <a:extLst>
              <a:ext uri="{96DAC541-7B7A-43D3-8B79-37D633B846F1}">
                <asvg:svgBlip xmlns:asvg="http://schemas.microsoft.com/office/drawing/2016/SVG/main" r:embed="rId4"/>
              </a:ext>
            </a:extLst>
          </a:blip>
          <a:srcRect l="42711"/>
          <a:stretch>
            <a:fillRect/>
          </a:stretch>
        </p:blipFill>
        <p:spPr>
          <a:xfrm>
            <a:off x="553107" y="645732"/>
            <a:ext cx="1187697" cy="787800"/>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90DDCB4A-090E-DB77-E702-EFFDB3D32280}"/>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8599F99-D574-5D55-8723-03233D2B17BF}"/>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314936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84830D14-0F50-91A0-8E6A-E336C41030D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6"/>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618146"/>
            <a:ext cx="5367528"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6" name="Picture 5">
            <a:extLst>
              <a:ext uri="{FF2B5EF4-FFF2-40B4-BE49-F238E27FC236}">
                <a16:creationId xmlns:a16="http://schemas.microsoft.com/office/drawing/2014/main" id="{EA9B12E0-2F4A-3379-ADB3-EBE82CFC317D}"/>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3" name="Title 1">
            <a:extLst>
              <a:ext uri="{FF2B5EF4-FFF2-40B4-BE49-F238E27FC236}">
                <a16:creationId xmlns:a16="http://schemas.microsoft.com/office/drawing/2014/main" id="{74A51CF8-7460-331F-A702-675E514AAA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8568238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CB772E2F-77B4-7D2D-FBA0-B04CAA0DD52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5"/>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618145"/>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618145"/>
            <a:ext cx="3474720" cy="3474720"/>
          </a:xfrm>
          <a:prstGeom prst="rect">
            <a:avLst/>
          </a:prstGeom>
          <a:blipFill>
            <a:blip r:embed="rId5"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C6B2DF11-B020-17DD-ECE5-E997AF073F0A}"/>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pic>
        <p:nvPicPr>
          <p:cNvPr id="6" name="Picture 5">
            <a:extLst>
              <a:ext uri="{FF2B5EF4-FFF2-40B4-BE49-F238E27FC236}">
                <a16:creationId xmlns:a16="http://schemas.microsoft.com/office/drawing/2014/main" id="{D91CBE31-E5B4-E569-7834-1EB2C63206A3}"/>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231357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A30EF81F-2C86-F935-8EF6-F64F7E255C36}"/>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bg1"/>
                </a:solidFill>
                <a:latin typeface="+mn-lt"/>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solidFill>
                  <a:schemeClr val="bg1"/>
                </a:solidFill>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Picture 8">
            <a:extLst>
              <a:ext uri="{FF2B5EF4-FFF2-40B4-BE49-F238E27FC236}">
                <a16:creationId xmlns:a16="http://schemas.microsoft.com/office/drawing/2014/main" id="{52D052A6-D7A7-1A83-F3DB-CB85339C32AA}"/>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cxnSp>
        <p:nvCxnSpPr>
          <p:cNvPr id="12" name="Straight Connector 11">
            <a:extLst>
              <a:ext uri="{FF2B5EF4-FFF2-40B4-BE49-F238E27FC236}">
                <a16:creationId xmlns:a16="http://schemas.microsoft.com/office/drawing/2014/main" id="{A07110ED-B1D6-28CC-E2DD-7818577AFE6B}"/>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6CD54E-4D0E-5619-759C-8BCEADCCBCF9}"/>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59043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3" name="TextBox 2">
            <a:extLst>
              <a:ext uri="{FF2B5EF4-FFF2-40B4-BE49-F238E27FC236}">
                <a16:creationId xmlns:a16="http://schemas.microsoft.com/office/drawing/2014/main" id="{0F2B7703-B80B-4610-1A72-01F0C5AC4D49}"/>
              </a:ext>
            </a:extLst>
          </p:cNvPr>
          <p:cNvSpPr txBox="1"/>
          <p:nvPr userDrawn="1"/>
        </p:nvSpPr>
        <p:spPr>
          <a:xfrm>
            <a:off x="583953" y="2139416"/>
            <a:ext cx="7331228" cy="1335750"/>
          </a:xfrm>
          <a:prstGeom prst="rect">
            <a:avLst/>
          </a:prstGeom>
          <a:noFill/>
          <a:ln>
            <a:noFill/>
            <a:prstDash/>
          </a:ln>
          <a:effectLst/>
        </p:spPr>
        <p:txBody>
          <a:bodyPr wrap="square" lIns="0" rIns="0">
            <a:spAutoFit/>
          </a:bodyPr>
          <a:lstStyle/>
          <a:p>
            <a:pPr>
              <a:lnSpc>
                <a:spcPct val="80000"/>
              </a:lnSpc>
              <a:spcAft>
                <a:spcPts val="600"/>
              </a:spcAft>
            </a:pPr>
            <a:r>
              <a:rPr lang="en-US" sz="10100" spc="0" baseline="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Grazie!</a:t>
            </a:r>
          </a:p>
        </p:txBody>
      </p:sp>
    </p:spTree>
    <p:extLst>
      <p:ext uri="{BB962C8B-B14F-4D97-AF65-F5344CB8AC3E}">
        <p14:creationId xmlns:p14="http://schemas.microsoft.com/office/powerpoint/2010/main" val="273454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1 - ligh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8E53CB7-242F-DE31-5043-E20246F1EB33}"/>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
        <p:nvSpPr>
          <p:cNvPr id="19" name="Title 1">
            <a:extLst>
              <a:ext uri="{FF2B5EF4-FFF2-40B4-BE49-F238E27FC236}">
                <a16:creationId xmlns:a16="http://schemas.microsoft.com/office/drawing/2014/main" id="{72535865-A229-5507-A2C7-11ECB16F392F}"/>
              </a:ext>
            </a:extLst>
          </p:cNvPr>
          <p:cNvSpPr>
            <a:spLocks noGrp="1"/>
          </p:cNvSpPr>
          <p:nvPr>
            <p:ph type="title"/>
          </p:nvPr>
        </p:nvSpPr>
        <p:spPr>
          <a:xfrm>
            <a:off x="588263" y="485481"/>
            <a:ext cx="11018520" cy="498598"/>
          </a:xfrm>
          <a:prstGeom prst="rect">
            <a:avLst/>
          </a:prstGeom>
        </p:spPr>
        <p:txBody>
          <a:bodyPr lIns="0" rIns="0"/>
          <a:lstStyle>
            <a:lvl1pPr>
              <a:defRPr spc="0" baseline="0">
                <a:solidFill>
                  <a:srgbClr val="151E47"/>
                </a:solidFill>
                <a:latin typeface="Segoe Sans Display Semibold" pitchFamily="2" charset="0"/>
                <a:cs typeface="Segoe Sans Display Semibold" pitchFamily="2" charset="0"/>
              </a:defRPr>
            </a:lvl1pPr>
          </a:lstStyle>
          <a:p>
            <a:r>
              <a:rPr lang="en-US"/>
              <a:t>Click to edit Master title style</a:t>
            </a:r>
          </a:p>
        </p:txBody>
      </p:sp>
      <p:sp>
        <p:nvSpPr>
          <p:cNvPr id="21" name="Text Placeholder 3">
            <a:extLst>
              <a:ext uri="{FF2B5EF4-FFF2-40B4-BE49-F238E27FC236}">
                <a16:creationId xmlns:a16="http://schemas.microsoft.com/office/drawing/2014/main" id="{C221563D-9D7D-59D4-15F5-691342AAF2A4}"/>
              </a:ext>
            </a:extLst>
          </p:cNvPr>
          <p:cNvSpPr>
            <a:spLocks noGrp="1"/>
          </p:cNvSpPr>
          <p:nvPr>
            <p:ph idx="1"/>
          </p:nvPr>
        </p:nvSpPr>
        <p:spPr>
          <a:xfrm>
            <a:off x="584200" y="1435503"/>
            <a:ext cx="11018520" cy="1428083"/>
          </a:xfrm>
          <a:prstGeom prst="rect">
            <a:avLst/>
          </a:prstGeom>
        </p:spPr>
        <p:txBody>
          <a:bodyPr vert="horz" wrap="square" lIns="0" tIns="0" rIns="0" bIns="0" rtlCol="0">
            <a:spAutoFit/>
          </a:bodyPr>
          <a:lstStyle>
            <a:lvl1pPr>
              <a:defRPr sz="1600">
                <a:solidFill>
                  <a:srgbClr val="151E47"/>
                </a:solidFill>
              </a:defRPr>
            </a:lvl1pPr>
            <a:lvl2pPr>
              <a:defRPr sz="1600">
                <a:solidFill>
                  <a:srgbClr val="151E47"/>
                </a:solidFill>
              </a:defRPr>
            </a:lvl2pPr>
            <a:lvl3pPr>
              <a:defRPr sz="1600">
                <a:solidFill>
                  <a:srgbClr val="151E47"/>
                </a:solidFill>
              </a:defRPr>
            </a:lvl3pPr>
            <a:lvl4pPr>
              <a:defRPr sz="1600">
                <a:solidFill>
                  <a:srgbClr val="151E47"/>
                </a:solidFill>
              </a:defRPr>
            </a:lvl4pPr>
            <a:lvl5pPr>
              <a:defRPr sz="1600">
                <a:solidFill>
                  <a:srgbClr val="151E4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0102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2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9C099-894E-0D88-9D9C-CE47048BD8A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4281626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 light">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C100DC9-F079-8524-5830-3A36378B22B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762421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lumn bullet - light">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D947218-CB56-374F-5584-04BA67C1703D}"/>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0452656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86B7CA03-C864-862E-0B28-6FF509BF2D0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6319485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0ECD512D-523B-6987-EBE4-CD6774F2456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9767690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r="30488" b="42725"/>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t="14771" r="11937"/>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98301" r="96994"/>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11723" t="71799" r="100000" b="1699"/>
          <a:stretch>
            <a:fill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18" name="Graphic 17">
            <a:extLst>
              <a:ext uri="{FF2B5EF4-FFF2-40B4-BE49-F238E27FC236}">
                <a16:creationId xmlns:a16="http://schemas.microsoft.com/office/drawing/2014/main" id="{A34BDEDB-DBBC-A920-0DAA-C092A8054208}"/>
              </a:ext>
            </a:extLst>
          </p:cNvPr>
          <p:cNvPicPr>
            <a:picLocks noChangeAspect="1"/>
          </p:cNvPicPr>
          <p:nvPr userDrawn="1"/>
        </p:nvPicPr>
        <p:blipFill>
          <a:blip>
            <a:extLst>
              <a:ext uri="{96DAC541-7B7A-43D3-8B79-37D633B846F1}">
                <asvg:svgBlip xmlns:asvg="http://schemas.microsoft.com/office/drawing/2016/SVG/main" r:embed="rId7"/>
              </a:ext>
            </a:extLst>
          </a:blip>
          <a:srcRect l="42711"/>
          <a:stretch>
            <a:fillRect/>
          </a:stretch>
        </p:blipFill>
        <p:spPr>
          <a:xfrm>
            <a:off x="553107" y="645732"/>
            <a:ext cx="1187697" cy="787800"/>
          </a:xfrm>
          <a:prstGeom prst="rect">
            <a:avLst/>
          </a:pr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8"/>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3C2A488F-B855-8BA1-7EAB-FAFD6264E835}"/>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DC3852C-4431-C777-7E3A-08951A007D72}"/>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7778110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side by side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tx1"/>
                </a:solidFill>
                <a:latin typeface="Segoe Sans Display "/>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10" name="Straight Connector 9">
            <a:extLst>
              <a:ext uri="{FF2B5EF4-FFF2-40B4-BE49-F238E27FC236}">
                <a16:creationId xmlns:a16="http://schemas.microsoft.com/office/drawing/2014/main" id="{4B7175DD-9188-BAB1-B7F0-9EEC45E7818C}"/>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217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userDrawn="1"/>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
        <p:nvSpPr>
          <p:cNvPr id="3" name="Footer Placeholder 4">
            <a:extLst>
              <a:ext uri="{FF2B5EF4-FFF2-40B4-BE49-F238E27FC236}">
                <a16:creationId xmlns:a16="http://schemas.microsoft.com/office/drawing/2014/main" id="{C8B1B4F8-04B3-79C3-FF88-DB6DFA1461B6}"/>
              </a:ext>
            </a:extLst>
          </p:cNvPr>
          <p:cNvSpPr>
            <a:spLocks noGrp="1"/>
          </p:cNvSpPr>
          <p:nvPr>
            <p:ph type="ftr" sz="quarter" idx="3"/>
          </p:nvPr>
        </p:nvSpPr>
        <p:spPr>
          <a:xfrm>
            <a:off x="4038600" y="657895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IN"/>
              <a:t>Microsoft Confidential–Internal Only</a:t>
            </a:r>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39376615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42F05E89-D4DC-80C2-7D96-C3031E88ADC5}"/>
              </a:ext>
            </a:extLst>
          </p:cNvPr>
          <p:cNvPicPr>
            <a:picLocks noChangeAspect="1"/>
          </p:cNvPicPr>
          <p:nvPr userDrawn="1"/>
        </p:nvPicPr>
        <p:blipFill rotWithShape="1">
          <a:blip>
            <a:alphaModFix amt="40000"/>
            <a:extLst>
              <a:ext uri="{96DAC541-7B7A-43D3-8B79-37D633B846F1}">
                <asvg:svgBlip xmlns:asvg="http://schemas.microsoft.com/office/drawing/2016/SVG/main" r:embed="rId3"/>
              </a:ext>
            </a:extLst>
          </a:blip>
          <a:srcRect l="6728" t="15844" r="2559" b="24788"/>
          <a:stretch/>
        </p:blipFill>
        <p:spPr>
          <a:xfrm>
            <a:off x="0" y="2194560"/>
            <a:ext cx="12192000" cy="4663440"/>
          </a:xfrm>
          <a:prstGeom prst="rect">
            <a:avLst/>
          </a:prstGeom>
        </p:spPr>
      </p:pic>
      <p:sp>
        <p:nvSpPr>
          <p:cNvPr id="7" name="Rectangle 6">
            <a:extLst>
              <a:ext uri="{FF2B5EF4-FFF2-40B4-BE49-F238E27FC236}">
                <a16:creationId xmlns:a16="http://schemas.microsoft.com/office/drawing/2014/main" id="{E0577787-0ADD-2D27-4937-87FE05274DF1}"/>
              </a:ext>
            </a:extLst>
          </p:cNvPr>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2" y="457200"/>
            <a:ext cx="10674823" cy="553998"/>
          </a:xfrm>
        </p:spPr>
        <p:txBody>
          <a:bodyPr vert="horz" wrap="square" lIns="0" tIns="0" rIns="0" bIns="0" rtlCol="0" anchor="t">
            <a:spAutoFit/>
          </a:bodyPr>
          <a:lstStyle>
            <a:lvl1pPr>
              <a:defRPr lang="en-US" b="0" spc="0">
                <a:latin typeface="+mj-lt"/>
                <a:cs typeface="Segoe Sans Text" pitchFamily="2" charset="0"/>
              </a:defRPr>
            </a:lvl1pPr>
          </a:lstStyle>
          <a:p>
            <a:pPr lvl="0"/>
            <a:r>
              <a:rPr lang="en-US"/>
              <a:t>Click to edit Master title style</a:t>
            </a:r>
          </a:p>
        </p:txBody>
      </p:sp>
    </p:spTree>
    <p:custDataLst>
      <p:tags r:id="rId1"/>
    </p:custDataLst>
    <p:extLst>
      <p:ext uri="{BB962C8B-B14F-4D97-AF65-F5344CB8AC3E}">
        <p14:creationId xmlns:p14="http://schemas.microsoft.com/office/powerpoint/2010/main" val="40569204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Only with Dots">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p:nvGrpSpPr>
        <p:grpSpPr>
          <a:xfrm>
            <a:off x="0" y="-34036"/>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cxnSp>
        <p:nvCxnSpPr>
          <p:cNvPr id="8" name="Straight Connector 7">
            <a:extLst>
              <a:ext uri="{FF2B5EF4-FFF2-40B4-BE49-F238E27FC236}">
                <a16:creationId xmlns:a16="http://schemas.microsoft.com/office/drawing/2014/main" id="{63457DC0-0AC0-A79E-1A21-A71F46075257}"/>
              </a:ext>
              <a:ext uri="{C183D7F6-B498-43B3-948B-1728B52AA6E4}">
                <adec:decorative xmlns:adec="http://schemas.microsoft.com/office/drawing/2017/decorative" val="1"/>
              </a:ext>
            </a:extLst>
          </p:cNvPr>
          <p:cNvCxnSpPr>
            <a:cxnSpLocks/>
          </p:cNvCxnSpPr>
          <p:nvPr userDrawn="1"/>
        </p:nvCxnSpPr>
        <p:spPr>
          <a:xfrm>
            <a:off x="0" y="1493008"/>
            <a:ext cx="5418667" cy="0"/>
          </a:xfrm>
          <a:prstGeom prst="line">
            <a:avLst/>
          </a:prstGeom>
          <a:noFill/>
          <a:ln w="25400" cap="rnd">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4649486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nodeType="withEffect">
                                  <p:stCondLst>
                                    <p:cond delay="0"/>
                                  </p:stCondLst>
                                  <p:childTnLst>
                                    <p:animMotion origin="layout" path="M -0.01719 -0.00023 L 4.58333E-6 -4.07407E-6 " pathEditMode="relative" rAng="0" ptsTypes="AA">
                                      <p:cBhvr>
                                        <p:cTn id="9" dur="500" fill="hold"/>
                                        <p:tgtEl>
                                          <p:spTgt spid="8"/>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pic>
        <p:nvPicPr>
          <p:cNvPr id="2" name="MS logo gray - EMF">
            <a:extLst>
              <a:ext uri="{FF2B5EF4-FFF2-40B4-BE49-F238E27FC236}">
                <a16:creationId xmlns:a16="http://schemas.microsoft.com/office/drawing/2014/main" id="{417DF7B2-975E-FBC1-FF54-4C68DE559E60}"/>
              </a:ext>
            </a:extLst>
          </p:cNvPr>
          <p:cNvPicPr>
            <a:picLocks noChangeAspect="1"/>
          </p:cNvPicPr>
          <p:nvPr userDrawn="1"/>
        </p:nvPicPr>
        <p:blipFill rotWithShape="1">
          <a:blip r:embed="rId4"/>
          <a:srcRect l="11451" t="32475" r="10216" b="33708"/>
          <a:stretch/>
        </p:blipFill>
        <p:spPr bwMode="black">
          <a:xfrm>
            <a:off x="567055" y="581977"/>
            <a:ext cx="1854200" cy="294217"/>
          </a:xfrm>
          <a:prstGeom prst="rect">
            <a:avLst/>
          </a:prstGeom>
        </p:spPr>
      </p:pic>
    </p:spTree>
    <p:extLst>
      <p:ext uri="{BB962C8B-B14F-4D97-AF65-F5344CB8AC3E}">
        <p14:creationId xmlns:p14="http://schemas.microsoft.com/office/powerpoint/2010/main" val="1763133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5" orient="horz" pos="2448">
          <p15:clr>
            <a:srgbClr val="5ACBF0"/>
          </p15:clr>
        </p15:guide>
        <p15:guide id="6"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07DBAF71-C51B-9579-3E81-10245177A8F0}"/>
              </a:ext>
            </a:extLst>
          </p:cNvPr>
          <p:cNvPicPr>
            <a:picLocks noChangeAspect="1"/>
          </p:cNvPicPr>
          <p:nvPr userDrawn="1"/>
        </p:nvPicPr>
        <p:blipFill rotWithShape="1">
          <a:blip r:embed="rId2"/>
          <a:srcRect l="11451" t="32475" r="10216" b="33708"/>
          <a:stretch/>
        </p:blipFill>
        <p:spPr bwMode="black">
          <a:xfrm>
            <a:off x="567055" y="581977"/>
            <a:ext cx="1854200" cy="294217"/>
          </a:xfrm>
          <a:prstGeom prst="rect">
            <a:avLst/>
          </a:prstGeom>
        </p:spPr>
      </p:pic>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spTree>
    <p:extLst>
      <p:ext uri="{BB962C8B-B14F-4D97-AF65-F5344CB8AC3E}">
        <p14:creationId xmlns:p14="http://schemas.microsoft.com/office/powerpoint/2010/main" val="590102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pic>
        <p:nvPicPr>
          <p:cNvPr id="4" name="Picture 3" descr="A logo of a company&#10;&#10;Description automatically generated">
            <a:extLst>
              <a:ext uri="{FF2B5EF4-FFF2-40B4-BE49-F238E27FC236}">
                <a16:creationId xmlns:a16="http://schemas.microsoft.com/office/drawing/2014/main" id="{88ED4D0F-6F82-3B01-3ED2-6BDBFA45E2B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6582" y="129394"/>
            <a:ext cx="3122228" cy="1373526"/>
          </a:xfrm>
          <a:prstGeom prst="rect">
            <a:avLst/>
          </a:prstGeom>
        </p:spPr>
      </p:pic>
      <p:sp>
        <p:nvSpPr>
          <p:cNvPr id="5" name="Title 1">
            <a:extLst>
              <a:ext uri="{FF2B5EF4-FFF2-40B4-BE49-F238E27FC236}">
                <a16:creationId xmlns:a16="http://schemas.microsoft.com/office/drawing/2014/main" id="{1D513030-56C0-6BD2-133A-AAAC59A990B4}"/>
              </a:ext>
            </a:extLst>
          </p:cNvPr>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6" name="Text Placeholder 4">
            <a:extLst>
              <a:ext uri="{FF2B5EF4-FFF2-40B4-BE49-F238E27FC236}">
                <a16:creationId xmlns:a16="http://schemas.microsoft.com/office/drawing/2014/main" id="{6FF7F27B-C45D-887A-BC02-DF78ACD64630}"/>
              </a:ext>
            </a:extLst>
          </p:cNvPr>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spTree>
    <p:extLst>
      <p:ext uri="{BB962C8B-B14F-4D97-AF65-F5344CB8AC3E}">
        <p14:creationId xmlns:p14="http://schemas.microsoft.com/office/powerpoint/2010/main" val="2664975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31539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354056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7822831"/>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841804CA-5B33-245C-AE53-73C33CB23EE3}"/>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790108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5280114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04019280"/>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7473648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42626048"/>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92061642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6544255"/>
      </p:ext>
    </p:extLst>
  </p:cSld>
  <p:clrMapOvr>
    <a:masterClrMapping/>
  </p:clrMapOvr>
  <p:transition>
    <p:fade/>
  </p:transition>
  <p:hf sldNum="0"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05467663"/>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4978229"/>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06659674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5860280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241169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9335482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22894175"/>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049903316"/>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2"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2819817626"/>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3290122490"/>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0642357"/>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1507311"/>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80181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quare Photo ">
    <p:bg>
      <p:bgPr>
        <a:solidFill>
          <a:srgbClr val="E8E6DF"/>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460121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999308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3">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2" name="Picture 1" descr="A close up of a corner of a paper&#10;&#10;AI-generated content may be incorrect.">
            <a:extLst>
              <a:ext uri="{FF2B5EF4-FFF2-40B4-BE49-F238E27FC236}">
                <a16:creationId xmlns:a16="http://schemas.microsoft.com/office/drawing/2014/main" id="{9D1D243A-BEC8-31C0-957B-7041D1ECEAB7}"/>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39669" t="-3489" r="308" b="5012"/>
          <a:stretch>
            <a:fillRect/>
          </a:stretch>
        </p:blipFill>
        <p:spPr>
          <a:xfrm rot="10800000" flipH="1" flipV="1">
            <a:off x="5931363" y="3132150"/>
            <a:ext cx="6260637" cy="3725849"/>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0" name="Title Placeholder 1">
            <a:extLst>
              <a:ext uri="{FF2B5EF4-FFF2-40B4-BE49-F238E27FC236}">
                <a16:creationId xmlns:a16="http://schemas.microsoft.com/office/drawing/2014/main" id="{A88E3D19-2226-DDC2-A8D5-813993AE86C9}"/>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802955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681781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390553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95022868-438E-0425-1E2F-E3CA98A24C9D}"/>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221175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D74BE50D-5B54-A22C-D2CC-36B8C81A6E3E}"/>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066310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D14AE2C3-2595-B28F-ED74-F11926B0EA6F}"/>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9290511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E1FAA60A-6D47-46B4-4185-0612BBBE824C}"/>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272072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2C596C1F-49AF-6E09-4EC6-99BF725CA797}"/>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6123566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DF111299-A0DA-4461-EFA1-CCF381B32734}"/>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8147013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9A8AE7F2-3F82-90E8-F621-A5FC460EE179}"/>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9089488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AA0A6071-33FD-E739-28BB-6193E600FA06}"/>
              </a:ext>
            </a:extLst>
          </p:cNvPr>
          <p:cNvSpPr/>
          <p:nvPr userDrawn="1"/>
        </p:nvSpPr>
        <p:spPr bwMode="auto">
          <a:xfrm>
            <a:off x="0" y="3429000"/>
            <a:ext cx="12192000" cy="34290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622806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l="3907" t="2396" b="11468"/>
          <a:stretch>
            <a:fillRect/>
          </a:stretch>
        </p:blipFill>
        <p:spPr>
          <a:xfrm>
            <a:off x="-17894" y="0"/>
            <a:ext cx="12209894" cy="6868066"/>
          </a:xfrm>
          <a:prstGeom prst="rect">
            <a:avLst/>
          </a:prstGeom>
        </p:spPr>
      </p:pic>
      <p:pic>
        <p:nvPicPr>
          <p:cNvPr id="11" name="Picture 10" descr="A blue and orange background&#10;&#10;AI-generated content may be incorrect.">
            <a:extLst>
              <a:ext uri="{FF2B5EF4-FFF2-40B4-BE49-F238E27FC236}">
                <a16:creationId xmlns:a16="http://schemas.microsoft.com/office/drawing/2014/main" id="{051DD8BC-6E15-4478-EACE-6ADFF16CF9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4">
            <a:extLst>
              <a:ext uri="{28A0092B-C50C-407E-A947-70E740481C1C}">
                <a14:useLocalDpi xmlns:a14="http://schemas.microsoft.com/office/drawing/2010/main" val="0"/>
              </a:ext>
            </a:extLst>
          </a:blip>
          <a:srcRect r="33553" b="21301"/>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11581" b="22533"/>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0F261CA3-A777-DE33-D141-CA5CC5633FDA}"/>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61471768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4D1B81F5-DF32-2C36-2222-0AD5F9CB7EA1}"/>
              </a:ext>
            </a:extLst>
          </p:cNvPr>
          <p:cNvSpPr/>
          <p:nvPr userDrawn="1"/>
        </p:nvSpPr>
        <p:spPr bwMode="auto">
          <a:xfrm>
            <a:off x="0" y="3429000"/>
            <a:ext cx="12192000" cy="34290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632766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49EEFFBA-493B-8CD4-7867-74D50499369B}"/>
              </a:ext>
            </a:extLst>
          </p:cNvPr>
          <p:cNvSpPr/>
          <p:nvPr userDrawn="1"/>
        </p:nvSpPr>
        <p:spPr bwMode="auto">
          <a:xfrm>
            <a:off x="0" y="3149600"/>
            <a:ext cx="12192000" cy="37084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104602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76569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9350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35696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193816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549491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513806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496325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860422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5">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403" t="8437" r="24933" b="17871"/>
          <a:stretch>
            <a:fillRect/>
          </a:stretch>
        </p:blipFill>
        <p:spPr>
          <a:xfrm>
            <a:off x="5488599" y="-1"/>
            <a:ext cx="6721295" cy="6704117"/>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8291BFD-F619-0250-71BD-ED5F5475E9F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0601348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16335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72998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4163759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00214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1701772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guide id="5" orient="horz" pos="2232">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1523177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guide id="5" orient="horz" pos="223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625512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874975277"/>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619208159"/>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861560551"/>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svg"/><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60.xml"/><Relationship Id="rId21" Type="http://schemas.openxmlformats.org/officeDocument/2006/relationships/slideLayout" Target="../slideLayouts/slideLayout64.xml"/><Relationship Id="rId42" Type="http://schemas.openxmlformats.org/officeDocument/2006/relationships/slideLayout" Target="../slideLayouts/slideLayout85.xml"/><Relationship Id="rId63" Type="http://schemas.openxmlformats.org/officeDocument/2006/relationships/slideLayout" Target="../slideLayouts/slideLayout106.xml"/><Relationship Id="rId84" Type="http://schemas.openxmlformats.org/officeDocument/2006/relationships/slideLayout" Target="../slideLayouts/slideLayout127.xml"/><Relationship Id="rId138" Type="http://schemas.openxmlformats.org/officeDocument/2006/relationships/slideLayout" Target="../slideLayouts/slideLayout181.xml"/><Relationship Id="rId107" Type="http://schemas.openxmlformats.org/officeDocument/2006/relationships/slideLayout" Target="../slideLayouts/slideLayout150.xml"/><Relationship Id="rId11" Type="http://schemas.openxmlformats.org/officeDocument/2006/relationships/slideLayout" Target="../slideLayouts/slideLayout54.xml"/><Relationship Id="rId32" Type="http://schemas.openxmlformats.org/officeDocument/2006/relationships/slideLayout" Target="../slideLayouts/slideLayout75.xml"/><Relationship Id="rId53" Type="http://schemas.openxmlformats.org/officeDocument/2006/relationships/slideLayout" Target="../slideLayouts/slideLayout96.xml"/><Relationship Id="rId74" Type="http://schemas.openxmlformats.org/officeDocument/2006/relationships/slideLayout" Target="../slideLayouts/slideLayout117.xml"/><Relationship Id="rId128" Type="http://schemas.openxmlformats.org/officeDocument/2006/relationships/slideLayout" Target="../slideLayouts/slideLayout171.xml"/><Relationship Id="rId149" Type="http://schemas.openxmlformats.org/officeDocument/2006/relationships/image" Target="../media/image2.svg"/><Relationship Id="rId5" Type="http://schemas.openxmlformats.org/officeDocument/2006/relationships/slideLayout" Target="../slideLayouts/slideLayout48.xml"/><Relationship Id="rId95" Type="http://schemas.openxmlformats.org/officeDocument/2006/relationships/slideLayout" Target="../slideLayouts/slideLayout138.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43" Type="http://schemas.openxmlformats.org/officeDocument/2006/relationships/slideLayout" Target="../slideLayouts/slideLayout86.xml"/><Relationship Id="rId48" Type="http://schemas.openxmlformats.org/officeDocument/2006/relationships/slideLayout" Target="../slideLayouts/slideLayout91.xml"/><Relationship Id="rId64" Type="http://schemas.openxmlformats.org/officeDocument/2006/relationships/slideLayout" Target="../slideLayouts/slideLayout107.xml"/><Relationship Id="rId69" Type="http://schemas.openxmlformats.org/officeDocument/2006/relationships/slideLayout" Target="../slideLayouts/slideLayout112.xml"/><Relationship Id="rId113" Type="http://schemas.openxmlformats.org/officeDocument/2006/relationships/slideLayout" Target="../slideLayouts/slideLayout156.xml"/><Relationship Id="rId118" Type="http://schemas.openxmlformats.org/officeDocument/2006/relationships/slideLayout" Target="../slideLayouts/slideLayout161.xml"/><Relationship Id="rId134" Type="http://schemas.openxmlformats.org/officeDocument/2006/relationships/slideLayout" Target="../slideLayouts/slideLayout177.xml"/><Relationship Id="rId139" Type="http://schemas.openxmlformats.org/officeDocument/2006/relationships/slideLayout" Target="../slideLayouts/slideLayout182.xml"/><Relationship Id="rId80" Type="http://schemas.openxmlformats.org/officeDocument/2006/relationships/slideLayout" Target="../slideLayouts/slideLayout123.xml"/><Relationship Id="rId85" Type="http://schemas.openxmlformats.org/officeDocument/2006/relationships/slideLayout" Target="../slideLayouts/slideLayout128.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33" Type="http://schemas.openxmlformats.org/officeDocument/2006/relationships/slideLayout" Target="../slideLayouts/slideLayout76.xml"/><Relationship Id="rId38" Type="http://schemas.openxmlformats.org/officeDocument/2006/relationships/slideLayout" Target="../slideLayouts/slideLayout81.xml"/><Relationship Id="rId59" Type="http://schemas.openxmlformats.org/officeDocument/2006/relationships/slideLayout" Target="../slideLayouts/slideLayout102.xml"/><Relationship Id="rId103" Type="http://schemas.openxmlformats.org/officeDocument/2006/relationships/slideLayout" Target="../slideLayouts/slideLayout146.xml"/><Relationship Id="rId108" Type="http://schemas.openxmlformats.org/officeDocument/2006/relationships/slideLayout" Target="../slideLayouts/slideLayout151.xml"/><Relationship Id="rId124" Type="http://schemas.openxmlformats.org/officeDocument/2006/relationships/slideLayout" Target="../slideLayouts/slideLayout167.xml"/><Relationship Id="rId129" Type="http://schemas.openxmlformats.org/officeDocument/2006/relationships/slideLayout" Target="../slideLayouts/slideLayout172.xml"/><Relationship Id="rId54" Type="http://schemas.openxmlformats.org/officeDocument/2006/relationships/slideLayout" Target="../slideLayouts/slideLayout97.xml"/><Relationship Id="rId70" Type="http://schemas.openxmlformats.org/officeDocument/2006/relationships/slideLayout" Target="../slideLayouts/slideLayout113.xml"/><Relationship Id="rId75" Type="http://schemas.openxmlformats.org/officeDocument/2006/relationships/slideLayout" Target="../slideLayouts/slideLayout118.xml"/><Relationship Id="rId91" Type="http://schemas.openxmlformats.org/officeDocument/2006/relationships/slideLayout" Target="../slideLayouts/slideLayout134.xml"/><Relationship Id="rId96" Type="http://schemas.openxmlformats.org/officeDocument/2006/relationships/slideLayout" Target="../slideLayouts/slideLayout139.xml"/><Relationship Id="rId140" Type="http://schemas.openxmlformats.org/officeDocument/2006/relationships/slideLayout" Target="../slideLayouts/slideLayout183.xml"/><Relationship Id="rId145" Type="http://schemas.openxmlformats.org/officeDocument/2006/relationships/slideLayout" Target="../slideLayouts/slideLayout188.xml"/><Relationship Id="rId1" Type="http://schemas.openxmlformats.org/officeDocument/2006/relationships/slideLayout" Target="../slideLayouts/slideLayout44.xml"/><Relationship Id="rId6" Type="http://schemas.openxmlformats.org/officeDocument/2006/relationships/slideLayout" Target="../slideLayouts/slideLayout49.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49" Type="http://schemas.openxmlformats.org/officeDocument/2006/relationships/slideLayout" Target="../slideLayouts/slideLayout92.xml"/><Relationship Id="rId114" Type="http://schemas.openxmlformats.org/officeDocument/2006/relationships/slideLayout" Target="../slideLayouts/slideLayout157.xml"/><Relationship Id="rId119" Type="http://schemas.openxmlformats.org/officeDocument/2006/relationships/slideLayout" Target="../slideLayouts/slideLayout162.xml"/><Relationship Id="rId44" Type="http://schemas.openxmlformats.org/officeDocument/2006/relationships/slideLayout" Target="../slideLayouts/slideLayout87.xml"/><Relationship Id="rId60" Type="http://schemas.openxmlformats.org/officeDocument/2006/relationships/slideLayout" Target="../slideLayouts/slideLayout103.xml"/><Relationship Id="rId65" Type="http://schemas.openxmlformats.org/officeDocument/2006/relationships/slideLayout" Target="../slideLayouts/slideLayout108.xml"/><Relationship Id="rId81" Type="http://schemas.openxmlformats.org/officeDocument/2006/relationships/slideLayout" Target="../slideLayouts/slideLayout124.xml"/><Relationship Id="rId86" Type="http://schemas.openxmlformats.org/officeDocument/2006/relationships/slideLayout" Target="../slideLayouts/slideLayout129.xml"/><Relationship Id="rId130" Type="http://schemas.openxmlformats.org/officeDocument/2006/relationships/slideLayout" Target="../slideLayouts/slideLayout173.xml"/><Relationship Id="rId135" Type="http://schemas.openxmlformats.org/officeDocument/2006/relationships/slideLayout" Target="../slideLayouts/slideLayout178.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9" Type="http://schemas.openxmlformats.org/officeDocument/2006/relationships/slideLayout" Target="../slideLayouts/slideLayout82.xml"/><Relationship Id="rId109" Type="http://schemas.openxmlformats.org/officeDocument/2006/relationships/slideLayout" Target="../slideLayouts/slideLayout152.xml"/><Relationship Id="rId34" Type="http://schemas.openxmlformats.org/officeDocument/2006/relationships/slideLayout" Target="../slideLayouts/slideLayout77.xml"/><Relationship Id="rId50" Type="http://schemas.openxmlformats.org/officeDocument/2006/relationships/slideLayout" Target="../slideLayouts/slideLayout93.xml"/><Relationship Id="rId55" Type="http://schemas.openxmlformats.org/officeDocument/2006/relationships/slideLayout" Target="../slideLayouts/slideLayout98.xml"/><Relationship Id="rId76" Type="http://schemas.openxmlformats.org/officeDocument/2006/relationships/slideLayout" Target="../slideLayouts/slideLayout119.xml"/><Relationship Id="rId97" Type="http://schemas.openxmlformats.org/officeDocument/2006/relationships/slideLayout" Target="../slideLayouts/slideLayout140.xml"/><Relationship Id="rId104" Type="http://schemas.openxmlformats.org/officeDocument/2006/relationships/slideLayout" Target="../slideLayouts/slideLayout147.xml"/><Relationship Id="rId120" Type="http://schemas.openxmlformats.org/officeDocument/2006/relationships/slideLayout" Target="../slideLayouts/slideLayout163.xml"/><Relationship Id="rId125" Type="http://schemas.openxmlformats.org/officeDocument/2006/relationships/slideLayout" Target="../slideLayouts/slideLayout168.xml"/><Relationship Id="rId141" Type="http://schemas.openxmlformats.org/officeDocument/2006/relationships/slideLayout" Target="../slideLayouts/slideLayout184.xml"/><Relationship Id="rId146" Type="http://schemas.openxmlformats.org/officeDocument/2006/relationships/slideLayout" Target="../slideLayouts/slideLayout189.xml"/><Relationship Id="rId7" Type="http://schemas.openxmlformats.org/officeDocument/2006/relationships/slideLayout" Target="../slideLayouts/slideLayout50.xml"/><Relationship Id="rId71" Type="http://schemas.openxmlformats.org/officeDocument/2006/relationships/slideLayout" Target="../slideLayouts/slideLayout114.xml"/><Relationship Id="rId92" Type="http://schemas.openxmlformats.org/officeDocument/2006/relationships/slideLayout" Target="../slideLayouts/slideLayout135.xml"/><Relationship Id="rId2" Type="http://schemas.openxmlformats.org/officeDocument/2006/relationships/slideLayout" Target="../slideLayouts/slideLayout45.xml"/><Relationship Id="rId29" Type="http://schemas.openxmlformats.org/officeDocument/2006/relationships/slideLayout" Target="../slideLayouts/slideLayout72.xml"/><Relationship Id="rId24" Type="http://schemas.openxmlformats.org/officeDocument/2006/relationships/slideLayout" Target="../slideLayouts/slideLayout67.xml"/><Relationship Id="rId40" Type="http://schemas.openxmlformats.org/officeDocument/2006/relationships/slideLayout" Target="../slideLayouts/slideLayout83.xml"/><Relationship Id="rId45" Type="http://schemas.openxmlformats.org/officeDocument/2006/relationships/slideLayout" Target="../slideLayouts/slideLayout88.xml"/><Relationship Id="rId66" Type="http://schemas.openxmlformats.org/officeDocument/2006/relationships/slideLayout" Target="../slideLayouts/slideLayout109.xml"/><Relationship Id="rId87" Type="http://schemas.openxmlformats.org/officeDocument/2006/relationships/slideLayout" Target="../slideLayouts/slideLayout130.xml"/><Relationship Id="rId110" Type="http://schemas.openxmlformats.org/officeDocument/2006/relationships/slideLayout" Target="../slideLayouts/slideLayout153.xml"/><Relationship Id="rId115" Type="http://schemas.openxmlformats.org/officeDocument/2006/relationships/slideLayout" Target="../slideLayouts/slideLayout158.xml"/><Relationship Id="rId131" Type="http://schemas.openxmlformats.org/officeDocument/2006/relationships/slideLayout" Target="../slideLayouts/slideLayout174.xml"/><Relationship Id="rId136" Type="http://schemas.openxmlformats.org/officeDocument/2006/relationships/slideLayout" Target="../slideLayouts/slideLayout179.xml"/><Relationship Id="rId61" Type="http://schemas.openxmlformats.org/officeDocument/2006/relationships/slideLayout" Target="../slideLayouts/slideLayout104.xml"/><Relationship Id="rId82" Type="http://schemas.openxmlformats.org/officeDocument/2006/relationships/slideLayout" Target="../slideLayouts/slideLayout125.xml"/><Relationship Id="rId19" Type="http://schemas.openxmlformats.org/officeDocument/2006/relationships/slideLayout" Target="../slideLayouts/slideLayout62.xml"/><Relationship Id="rId14" Type="http://schemas.openxmlformats.org/officeDocument/2006/relationships/slideLayout" Target="../slideLayouts/slideLayout57.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56" Type="http://schemas.openxmlformats.org/officeDocument/2006/relationships/slideLayout" Target="../slideLayouts/slideLayout99.xml"/><Relationship Id="rId77" Type="http://schemas.openxmlformats.org/officeDocument/2006/relationships/slideLayout" Target="../slideLayouts/slideLayout120.xml"/><Relationship Id="rId100" Type="http://schemas.openxmlformats.org/officeDocument/2006/relationships/slideLayout" Target="../slideLayouts/slideLayout143.xml"/><Relationship Id="rId105" Type="http://schemas.openxmlformats.org/officeDocument/2006/relationships/slideLayout" Target="../slideLayouts/slideLayout148.xml"/><Relationship Id="rId126" Type="http://schemas.openxmlformats.org/officeDocument/2006/relationships/slideLayout" Target="../slideLayouts/slideLayout169.xml"/><Relationship Id="rId147" Type="http://schemas.openxmlformats.org/officeDocument/2006/relationships/slideLayout" Target="../slideLayouts/slideLayout190.xml"/><Relationship Id="rId8" Type="http://schemas.openxmlformats.org/officeDocument/2006/relationships/slideLayout" Target="../slideLayouts/slideLayout51.xml"/><Relationship Id="rId51" Type="http://schemas.openxmlformats.org/officeDocument/2006/relationships/slideLayout" Target="../slideLayouts/slideLayout94.xml"/><Relationship Id="rId72" Type="http://schemas.openxmlformats.org/officeDocument/2006/relationships/slideLayout" Target="../slideLayouts/slideLayout115.xml"/><Relationship Id="rId93" Type="http://schemas.openxmlformats.org/officeDocument/2006/relationships/slideLayout" Target="../slideLayouts/slideLayout136.xml"/><Relationship Id="rId98" Type="http://schemas.openxmlformats.org/officeDocument/2006/relationships/slideLayout" Target="../slideLayouts/slideLayout141.xml"/><Relationship Id="rId121" Type="http://schemas.openxmlformats.org/officeDocument/2006/relationships/slideLayout" Target="../slideLayouts/slideLayout164.xml"/><Relationship Id="rId142" Type="http://schemas.openxmlformats.org/officeDocument/2006/relationships/slideLayout" Target="../slideLayouts/slideLayout185.xml"/><Relationship Id="rId3" Type="http://schemas.openxmlformats.org/officeDocument/2006/relationships/slideLayout" Target="../slideLayouts/slideLayout46.xml"/><Relationship Id="rId25" Type="http://schemas.openxmlformats.org/officeDocument/2006/relationships/slideLayout" Target="../slideLayouts/slideLayout68.xml"/><Relationship Id="rId46" Type="http://schemas.openxmlformats.org/officeDocument/2006/relationships/slideLayout" Target="../slideLayouts/slideLayout89.xml"/><Relationship Id="rId67" Type="http://schemas.openxmlformats.org/officeDocument/2006/relationships/slideLayout" Target="../slideLayouts/slideLayout110.xml"/><Relationship Id="rId116" Type="http://schemas.openxmlformats.org/officeDocument/2006/relationships/slideLayout" Target="../slideLayouts/slideLayout159.xml"/><Relationship Id="rId137" Type="http://schemas.openxmlformats.org/officeDocument/2006/relationships/slideLayout" Target="../slideLayouts/slideLayout180.xml"/><Relationship Id="rId20" Type="http://schemas.openxmlformats.org/officeDocument/2006/relationships/slideLayout" Target="../slideLayouts/slideLayout63.xml"/><Relationship Id="rId41" Type="http://schemas.openxmlformats.org/officeDocument/2006/relationships/slideLayout" Target="../slideLayouts/slideLayout84.xml"/><Relationship Id="rId62" Type="http://schemas.openxmlformats.org/officeDocument/2006/relationships/slideLayout" Target="../slideLayouts/slideLayout105.xml"/><Relationship Id="rId83" Type="http://schemas.openxmlformats.org/officeDocument/2006/relationships/slideLayout" Target="../slideLayouts/slideLayout126.xml"/><Relationship Id="rId88" Type="http://schemas.openxmlformats.org/officeDocument/2006/relationships/slideLayout" Target="../slideLayouts/slideLayout131.xml"/><Relationship Id="rId111" Type="http://schemas.openxmlformats.org/officeDocument/2006/relationships/slideLayout" Target="../slideLayouts/slideLayout154.xml"/><Relationship Id="rId132" Type="http://schemas.openxmlformats.org/officeDocument/2006/relationships/slideLayout" Target="../slideLayouts/slideLayout175.xml"/><Relationship Id="rId15" Type="http://schemas.openxmlformats.org/officeDocument/2006/relationships/slideLayout" Target="../slideLayouts/slideLayout58.xml"/><Relationship Id="rId36" Type="http://schemas.openxmlformats.org/officeDocument/2006/relationships/slideLayout" Target="../slideLayouts/slideLayout79.xml"/><Relationship Id="rId57" Type="http://schemas.openxmlformats.org/officeDocument/2006/relationships/slideLayout" Target="../slideLayouts/slideLayout100.xml"/><Relationship Id="rId106" Type="http://schemas.openxmlformats.org/officeDocument/2006/relationships/slideLayout" Target="../slideLayouts/slideLayout149.xml"/><Relationship Id="rId127" Type="http://schemas.openxmlformats.org/officeDocument/2006/relationships/slideLayout" Target="../slideLayouts/slideLayout170.xml"/><Relationship Id="rId10" Type="http://schemas.openxmlformats.org/officeDocument/2006/relationships/slideLayout" Target="../slideLayouts/slideLayout53.xml"/><Relationship Id="rId31" Type="http://schemas.openxmlformats.org/officeDocument/2006/relationships/slideLayout" Target="../slideLayouts/slideLayout74.xml"/><Relationship Id="rId52" Type="http://schemas.openxmlformats.org/officeDocument/2006/relationships/slideLayout" Target="../slideLayouts/slideLayout95.xml"/><Relationship Id="rId73" Type="http://schemas.openxmlformats.org/officeDocument/2006/relationships/slideLayout" Target="../slideLayouts/slideLayout116.xml"/><Relationship Id="rId78" Type="http://schemas.openxmlformats.org/officeDocument/2006/relationships/slideLayout" Target="../slideLayouts/slideLayout121.xml"/><Relationship Id="rId94" Type="http://schemas.openxmlformats.org/officeDocument/2006/relationships/slideLayout" Target="../slideLayouts/slideLayout137.xml"/><Relationship Id="rId99" Type="http://schemas.openxmlformats.org/officeDocument/2006/relationships/slideLayout" Target="../slideLayouts/slideLayout142.xml"/><Relationship Id="rId101" Type="http://schemas.openxmlformats.org/officeDocument/2006/relationships/slideLayout" Target="../slideLayouts/slideLayout144.xml"/><Relationship Id="rId122" Type="http://schemas.openxmlformats.org/officeDocument/2006/relationships/slideLayout" Target="../slideLayouts/slideLayout165.xml"/><Relationship Id="rId143" Type="http://schemas.openxmlformats.org/officeDocument/2006/relationships/slideLayout" Target="../slideLayouts/slideLayout186.xml"/><Relationship Id="rId148" Type="http://schemas.openxmlformats.org/officeDocument/2006/relationships/theme" Target="../theme/theme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26" Type="http://schemas.openxmlformats.org/officeDocument/2006/relationships/slideLayout" Target="../slideLayouts/slideLayout69.xml"/><Relationship Id="rId47" Type="http://schemas.openxmlformats.org/officeDocument/2006/relationships/slideLayout" Target="../slideLayouts/slideLayout90.xml"/><Relationship Id="rId68" Type="http://schemas.openxmlformats.org/officeDocument/2006/relationships/slideLayout" Target="../slideLayouts/slideLayout111.xml"/><Relationship Id="rId89" Type="http://schemas.openxmlformats.org/officeDocument/2006/relationships/slideLayout" Target="../slideLayouts/slideLayout132.xml"/><Relationship Id="rId112" Type="http://schemas.openxmlformats.org/officeDocument/2006/relationships/slideLayout" Target="../slideLayouts/slideLayout155.xml"/><Relationship Id="rId133" Type="http://schemas.openxmlformats.org/officeDocument/2006/relationships/slideLayout" Target="../slideLayouts/slideLayout176.xml"/><Relationship Id="rId16" Type="http://schemas.openxmlformats.org/officeDocument/2006/relationships/slideLayout" Target="../slideLayouts/slideLayout59.xml"/><Relationship Id="rId37" Type="http://schemas.openxmlformats.org/officeDocument/2006/relationships/slideLayout" Target="../slideLayouts/slideLayout80.xml"/><Relationship Id="rId58" Type="http://schemas.openxmlformats.org/officeDocument/2006/relationships/slideLayout" Target="../slideLayouts/slideLayout101.xml"/><Relationship Id="rId79" Type="http://schemas.openxmlformats.org/officeDocument/2006/relationships/slideLayout" Target="../slideLayouts/slideLayout122.xml"/><Relationship Id="rId102" Type="http://schemas.openxmlformats.org/officeDocument/2006/relationships/slideLayout" Target="../slideLayouts/slideLayout145.xml"/><Relationship Id="rId123" Type="http://schemas.openxmlformats.org/officeDocument/2006/relationships/slideLayout" Target="../slideLayouts/slideLayout166.xml"/><Relationship Id="rId144" Type="http://schemas.openxmlformats.org/officeDocument/2006/relationships/slideLayout" Target="../slideLayouts/slideLayout187.xml"/><Relationship Id="rId90" Type="http://schemas.openxmlformats.org/officeDocument/2006/relationships/slideLayout" Target="../slideLayouts/slideLayout1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3" Type="http://schemas.openxmlformats.org/officeDocument/2006/relationships/slideLayout" Target="../slideLayouts/slideLayout193.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image" Target="../media/image2.svg"/><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10" Type="http://schemas.openxmlformats.org/officeDocument/2006/relationships/slideLayout" Target="../slideLayouts/slideLayout200.xml"/><Relationship Id="rId19" Type="http://schemas.openxmlformats.org/officeDocument/2006/relationships/theme" Target="../theme/theme3.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2" Type="http://schemas.openxmlformats.org/officeDocument/2006/relationships/slideLayout" Target="../slideLayouts/slideLayout210.xml"/><Relationship Id="rId16" Type="http://schemas.openxmlformats.org/officeDocument/2006/relationships/theme" Target="../theme/theme4.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18" Type="http://schemas.openxmlformats.org/officeDocument/2006/relationships/slideLayout" Target="../slideLayouts/slideLayout241.xml"/><Relationship Id="rId3" Type="http://schemas.openxmlformats.org/officeDocument/2006/relationships/slideLayout" Target="../slideLayouts/slideLayout226.xml"/><Relationship Id="rId21" Type="http://schemas.openxmlformats.org/officeDocument/2006/relationships/slideLayout" Target="../slideLayouts/slideLayout244.xml"/><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slideLayout" Target="../slideLayouts/slideLayout240.xml"/><Relationship Id="rId25" Type="http://schemas.openxmlformats.org/officeDocument/2006/relationships/image" Target="../media/image98.emf"/><Relationship Id="rId2" Type="http://schemas.openxmlformats.org/officeDocument/2006/relationships/slideLayout" Target="../slideLayouts/slideLayout225.xml"/><Relationship Id="rId16" Type="http://schemas.openxmlformats.org/officeDocument/2006/relationships/slideLayout" Target="../slideLayouts/slideLayout239.xml"/><Relationship Id="rId20" Type="http://schemas.openxmlformats.org/officeDocument/2006/relationships/slideLayout" Target="../slideLayouts/slideLayout243.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24" Type="http://schemas.openxmlformats.org/officeDocument/2006/relationships/oleObject" Target="../embeddings/oleObject1.bin"/><Relationship Id="rId5" Type="http://schemas.openxmlformats.org/officeDocument/2006/relationships/slideLayout" Target="../slideLayouts/slideLayout228.xml"/><Relationship Id="rId15" Type="http://schemas.openxmlformats.org/officeDocument/2006/relationships/slideLayout" Target="../slideLayouts/slideLayout238.xml"/><Relationship Id="rId23" Type="http://schemas.openxmlformats.org/officeDocument/2006/relationships/tags" Target="../tags/tag2.xml"/><Relationship Id="rId10" Type="http://schemas.openxmlformats.org/officeDocument/2006/relationships/slideLayout" Target="../slideLayouts/slideLayout233.xml"/><Relationship Id="rId19" Type="http://schemas.openxmlformats.org/officeDocument/2006/relationships/slideLayout" Target="../slideLayouts/slideLayout242.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6B07C2E4-0DFA-F8B9-B096-ECFDEA07D54A}"/>
              </a:ext>
              <a:ext uri="{C183D7F6-B498-43B3-948B-1728B52AA6E4}">
                <adec:decorative xmlns:adec="http://schemas.microsoft.com/office/drawing/2017/decorative" val="1"/>
              </a:ext>
            </a:extLst>
          </p:cNvPr>
          <p:cNvPicPr>
            <a:picLocks noChangeAspect="1"/>
          </p:cNvPicPr>
          <p:nvPr userDrawn="1"/>
        </p:nvPicPr>
        <p:blipFill rotWithShape="1">
          <a:blip r:embed="rId45"/>
          <a:srcRect l="370" t="1" r="531" b="29523"/>
          <a:stretch>
            <a:fillRect/>
          </a:stretch>
        </p:blipFill>
        <p:spPr>
          <a:xfrm rot="10800000" flipV="1">
            <a:off x="-9333" y="6675119"/>
            <a:ext cx="12201331" cy="182880"/>
          </a:xfrm>
          <a:prstGeom prst="rect">
            <a:avLst/>
          </a:prstGeom>
          <a:ln>
            <a:noFill/>
          </a:ln>
          <a:effectLst/>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4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418689686"/>
      </p:ext>
    </p:extLst>
  </p:cSld>
  <p:clrMap bg1="lt1" tx1="dk1" bg2="lt2" tx2="dk2" accent1="accent1" accent2="accent2" accent3="accent3" accent4="accent4" accent5="accent5" accent6="accent6" hlink="hlink" folHlink="folHlink"/>
  <p:sldLayoutIdLst>
    <p:sldLayoutId id="2147485808" r:id="rId1"/>
    <p:sldLayoutId id="2147485809" r:id="rId2"/>
    <p:sldLayoutId id="2147485810" r:id="rId3"/>
    <p:sldLayoutId id="2147485811" r:id="rId4"/>
    <p:sldLayoutId id="2147485824" r:id="rId5"/>
    <p:sldLayoutId id="2147485524" r:id="rId6"/>
    <p:sldLayoutId id="2147485827" r:id="rId7"/>
    <p:sldLayoutId id="2147485821" r:id="rId8"/>
    <p:sldLayoutId id="2147485822" r:id="rId9"/>
    <p:sldLayoutId id="2147485823" r:id="rId10"/>
    <p:sldLayoutId id="2147485829" r:id="rId11"/>
    <p:sldLayoutId id="2147485830" r:id="rId12"/>
    <p:sldLayoutId id="2147485828" r:id="rId13"/>
    <p:sldLayoutId id="2147485814" r:id="rId14"/>
    <p:sldLayoutId id="2147485815" r:id="rId15"/>
    <p:sldLayoutId id="2147485816" r:id="rId16"/>
    <p:sldLayoutId id="2147485817" r:id="rId17"/>
    <p:sldLayoutId id="2147485818" r:id="rId18"/>
    <p:sldLayoutId id="2147485819" r:id="rId19"/>
    <p:sldLayoutId id="2147485838" r:id="rId20"/>
    <p:sldLayoutId id="2147485839" r:id="rId21"/>
    <p:sldLayoutId id="2147485840" r:id="rId22"/>
    <p:sldLayoutId id="2147485732" r:id="rId23"/>
    <p:sldLayoutId id="2147485813" r:id="rId24"/>
    <p:sldLayoutId id="2147485820" r:id="rId25"/>
    <p:sldLayoutId id="2147485837" r:id="rId26"/>
    <p:sldLayoutId id="2147485826" r:id="rId27"/>
    <p:sldLayoutId id="2147485832" r:id="rId28"/>
    <p:sldLayoutId id="2147485833" r:id="rId29"/>
    <p:sldLayoutId id="2147485472" r:id="rId30"/>
    <p:sldLayoutId id="2147485473" r:id="rId31"/>
    <p:sldLayoutId id="2147485836" r:id="rId32"/>
    <p:sldLayoutId id="2147485831" r:id="rId33"/>
    <p:sldLayoutId id="2147485812" r:id="rId34"/>
    <p:sldLayoutId id="2147485462" r:id="rId35"/>
    <p:sldLayoutId id="2147485455" r:id="rId36"/>
    <p:sldLayoutId id="2147485459" r:id="rId37"/>
    <p:sldLayoutId id="2147485834" r:id="rId38"/>
    <p:sldLayoutId id="2147485835" r:id="rId39"/>
    <p:sldLayoutId id="2147485482" r:id="rId40"/>
    <p:sldLayoutId id="2147485992" r:id="rId41"/>
    <p:sldLayoutId id="2147486415" r:id="rId42"/>
    <p:sldLayoutId id="2147486416" r:id="rId4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Tx/>
        <a:buNone/>
        <a:tabLst/>
        <a:defRPr sz="2800" kern="1200" spc="0" baseline="0">
          <a:solidFill>
            <a:srgbClr val="091F2C"/>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14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944397489"/>
      </p:ext>
    </p:extLst>
  </p:cSld>
  <p:clrMap bg1="lt1" tx1="dk1" bg2="lt2" tx2="dk2" accent1="accent1" accent2="accent2" accent3="accent3" accent4="accent4" accent5="accent5" accent6="accent6" hlink="hlink" folHlink="folHlink"/>
  <p:sldLayoutIdLst>
    <p:sldLayoutId id="2147485842" r:id="rId1"/>
    <p:sldLayoutId id="2147485843" r:id="rId2"/>
    <p:sldLayoutId id="2147485844" r:id="rId3"/>
    <p:sldLayoutId id="2147485845" r:id="rId4"/>
    <p:sldLayoutId id="2147485846" r:id="rId5"/>
    <p:sldLayoutId id="2147485847" r:id="rId6"/>
    <p:sldLayoutId id="2147485848" r:id="rId7"/>
    <p:sldLayoutId id="2147485849" r:id="rId8"/>
    <p:sldLayoutId id="2147485850" r:id="rId9"/>
    <p:sldLayoutId id="2147485851" r:id="rId10"/>
    <p:sldLayoutId id="2147485852" r:id="rId11"/>
    <p:sldLayoutId id="2147485853" r:id="rId12"/>
    <p:sldLayoutId id="2147485854" r:id="rId13"/>
    <p:sldLayoutId id="2147485855" r:id="rId14"/>
    <p:sldLayoutId id="2147485856" r:id="rId15"/>
    <p:sldLayoutId id="2147485857" r:id="rId16"/>
    <p:sldLayoutId id="2147485858" r:id="rId17"/>
    <p:sldLayoutId id="2147485859" r:id="rId18"/>
    <p:sldLayoutId id="2147485860" r:id="rId19"/>
    <p:sldLayoutId id="2147485861" r:id="rId20"/>
    <p:sldLayoutId id="2147485862" r:id="rId21"/>
    <p:sldLayoutId id="2147485863" r:id="rId22"/>
    <p:sldLayoutId id="2147485864" r:id="rId23"/>
    <p:sldLayoutId id="2147485865" r:id="rId24"/>
    <p:sldLayoutId id="2147485866" r:id="rId25"/>
    <p:sldLayoutId id="2147485867" r:id="rId26"/>
    <p:sldLayoutId id="2147485868" r:id="rId27"/>
    <p:sldLayoutId id="2147485869" r:id="rId28"/>
    <p:sldLayoutId id="2147485870" r:id="rId29"/>
    <p:sldLayoutId id="2147485871" r:id="rId30"/>
    <p:sldLayoutId id="2147485872" r:id="rId31"/>
    <p:sldLayoutId id="2147485873" r:id="rId32"/>
    <p:sldLayoutId id="2147485874" r:id="rId33"/>
    <p:sldLayoutId id="2147485875" r:id="rId34"/>
    <p:sldLayoutId id="2147485876" r:id="rId35"/>
    <p:sldLayoutId id="2147485877" r:id="rId36"/>
    <p:sldLayoutId id="2147485878" r:id="rId37"/>
    <p:sldLayoutId id="2147485879" r:id="rId38"/>
    <p:sldLayoutId id="2147485880" r:id="rId39"/>
    <p:sldLayoutId id="2147485881" r:id="rId40"/>
    <p:sldLayoutId id="2147485882" r:id="rId41"/>
    <p:sldLayoutId id="2147485883" r:id="rId42"/>
    <p:sldLayoutId id="2147485884" r:id="rId43"/>
    <p:sldLayoutId id="2147485885" r:id="rId44"/>
    <p:sldLayoutId id="2147485886" r:id="rId45"/>
    <p:sldLayoutId id="2147485887" r:id="rId46"/>
    <p:sldLayoutId id="2147485888" r:id="rId47"/>
    <p:sldLayoutId id="2147485889" r:id="rId48"/>
    <p:sldLayoutId id="2147485890" r:id="rId49"/>
    <p:sldLayoutId id="2147485891" r:id="rId50"/>
    <p:sldLayoutId id="2147485892" r:id="rId51"/>
    <p:sldLayoutId id="2147485893" r:id="rId52"/>
    <p:sldLayoutId id="2147485894" r:id="rId53"/>
    <p:sldLayoutId id="2147485895" r:id="rId54"/>
    <p:sldLayoutId id="2147485896" r:id="rId55"/>
    <p:sldLayoutId id="2147485897" r:id="rId56"/>
    <p:sldLayoutId id="2147485898" r:id="rId57"/>
    <p:sldLayoutId id="2147485902" r:id="rId58"/>
    <p:sldLayoutId id="2147485903" r:id="rId59"/>
    <p:sldLayoutId id="2147485904" r:id="rId60"/>
    <p:sldLayoutId id="2147485905" r:id="rId61"/>
    <p:sldLayoutId id="2147485906" r:id="rId62"/>
    <p:sldLayoutId id="2147485907" r:id="rId63"/>
    <p:sldLayoutId id="2147485908" r:id="rId64"/>
    <p:sldLayoutId id="2147485909" r:id="rId65"/>
    <p:sldLayoutId id="2147485910" r:id="rId66"/>
    <p:sldLayoutId id="2147485911" r:id="rId67"/>
    <p:sldLayoutId id="2147485912" r:id="rId68"/>
    <p:sldLayoutId id="2147485913" r:id="rId69"/>
    <p:sldLayoutId id="2147485914" r:id="rId70"/>
    <p:sldLayoutId id="2147485915" r:id="rId71"/>
    <p:sldLayoutId id="2147485916" r:id="rId72"/>
    <p:sldLayoutId id="2147485917" r:id="rId73"/>
    <p:sldLayoutId id="2147485918" r:id="rId74"/>
    <p:sldLayoutId id="2147485919" r:id="rId75"/>
    <p:sldLayoutId id="2147485920" r:id="rId76"/>
    <p:sldLayoutId id="2147485921" r:id="rId77"/>
    <p:sldLayoutId id="2147485922" r:id="rId78"/>
    <p:sldLayoutId id="2147485923" r:id="rId79"/>
    <p:sldLayoutId id="2147485924" r:id="rId80"/>
    <p:sldLayoutId id="2147485925" r:id="rId81"/>
    <p:sldLayoutId id="2147485926" r:id="rId82"/>
    <p:sldLayoutId id="2147485927" r:id="rId83"/>
    <p:sldLayoutId id="2147485928" r:id="rId84"/>
    <p:sldLayoutId id="2147485929" r:id="rId85"/>
    <p:sldLayoutId id="2147485930" r:id="rId86"/>
    <p:sldLayoutId id="2147485931" r:id="rId87"/>
    <p:sldLayoutId id="2147485932" r:id="rId88"/>
    <p:sldLayoutId id="2147485933" r:id="rId89"/>
    <p:sldLayoutId id="2147485934" r:id="rId90"/>
    <p:sldLayoutId id="2147485935" r:id="rId91"/>
    <p:sldLayoutId id="2147485936" r:id="rId92"/>
    <p:sldLayoutId id="2147485937" r:id="rId93"/>
    <p:sldLayoutId id="2147485938" r:id="rId94"/>
    <p:sldLayoutId id="2147485939" r:id="rId95"/>
    <p:sldLayoutId id="2147485940" r:id="rId96"/>
    <p:sldLayoutId id="2147485941" r:id="rId97"/>
    <p:sldLayoutId id="2147485942" r:id="rId98"/>
    <p:sldLayoutId id="2147485943" r:id="rId99"/>
    <p:sldLayoutId id="2147485944" r:id="rId100"/>
    <p:sldLayoutId id="2147485945" r:id="rId101"/>
    <p:sldLayoutId id="2147485946" r:id="rId102"/>
    <p:sldLayoutId id="2147485947" r:id="rId103"/>
    <p:sldLayoutId id="2147485948" r:id="rId104"/>
    <p:sldLayoutId id="2147485949" r:id="rId105"/>
    <p:sldLayoutId id="2147485950" r:id="rId106"/>
    <p:sldLayoutId id="2147485951" r:id="rId107"/>
    <p:sldLayoutId id="2147485952" r:id="rId108"/>
    <p:sldLayoutId id="2147485953" r:id="rId109"/>
    <p:sldLayoutId id="2147485954" r:id="rId110"/>
    <p:sldLayoutId id="2147485955" r:id="rId111"/>
    <p:sldLayoutId id="2147485956" r:id="rId112"/>
    <p:sldLayoutId id="2147485957" r:id="rId113"/>
    <p:sldLayoutId id="2147485958" r:id="rId114"/>
    <p:sldLayoutId id="2147485959" r:id="rId115"/>
    <p:sldLayoutId id="2147485960" r:id="rId116"/>
    <p:sldLayoutId id="2147485961" r:id="rId117"/>
    <p:sldLayoutId id="2147485962" r:id="rId118"/>
    <p:sldLayoutId id="2147485963" r:id="rId119"/>
    <p:sldLayoutId id="2147485964" r:id="rId120"/>
    <p:sldLayoutId id="2147485965" r:id="rId121"/>
    <p:sldLayoutId id="2147485966" r:id="rId122"/>
    <p:sldLayoutId id="2147485967" r:id="rId123"/>
    <p:sldLayoutId id="2147485968" r:id="rId124"/>
    <p:sldLayoutId id="2147485969" r:id="rId125"/>
    <p:sldLayoutId id="2147485970" r:id="rId126"/>
    <p:sldLayoutId id="2147485971" r:id="rId127"/>
    <p:sldLayoutId id="2147485972" r:id="rId128"/>
    <p:sldLayoutId id="2147485973" r:id="rId129"/>
    <p:sldLayoutId id="2147485974" r:id="rId130"/>
    <p:sldLayoutId id="2147485975" r:id="rId131"/>
    <p:sldLayoutId id="2147485976" r:id="rId132"/>
    <p:sldLayoutId id="2147485977" r:id="rId133"/>
    <p:sldLayoutId id="2147485978" r:id="rId134"/>
    <p:sldLayoutId id="2147485979" r:id="rId135"/>
    <p:sldLayoutId id="2147485980" r:id="rId136"/>
    <p:sldLayoutId id="2147485981" r:id="rId137"/>
    <p:sldLayoutId id="2147485982" r:id="rId138"/>
    <p:sldLayoutId id="2147485983" r:id="rId139"/>
    <p:sldLayoutId id="2147485984" r:id="rId140"/>
    <p:sldLayoutId id="2147485985" r:id="rId141"/>
    <p:sldLayoutId id="2147485986" r:id="rId142"/>
    <p:sldLayoutId id="2147485987" r:id="rId143"/>
    <p:sldLayoutId id="2147485988" r:id="rId144"/>
    <p:sldLayoutId id="2147485989" r:id="rId145"/>
    <p:sldLayoutId id="2147485990" r:id="rId146"/>
    <p:sldLayoutId id="2147485991" r:id="rId14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20"/>
              </a:ext>
            </a:extLst>
          </a:blip>
          <a:srcRect/>
          <a:stretch/>
        </p:blipFill>
        <p:spPr>
          <a:xfrm rot="5400000">
            <a:off x="9509919" y="2743200"/>
            <a:ext cx="6858000" cy="1371600"/>
          </a:xfrm>
          <a:prstGeom prst="rect">
            <a:avLst/>
          </a:prstGeom>
        </p:spPr>
      </p:pic>
      <p:sp>
        <p:nvSpPr>
          <p:cNvPr id="5" name="TextBox 5">
            <a:extLst>
              <a:ext uri="{FF2B5EF4-FFF2-40B4-BE49-F238E27FC236}">
                <a16:creationId xmlns:a16="http://schemas.microsoft.com/office/drawing/2014/main" id="{FBF0D044-2A39-810C-9DE8-D8516C1F4B52}"/>
              </a:ext>
            </a:extLst>
          </p:cNvPr>
          <p:cNvSpPr txBox="1"/>
          <p:nvPr userDrawn="1">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en-US" sz="1000">
                <a:solidFill>
                  <a:schemeClr val="bg2">
                    <a:lumMod val="10000"/>
                    <a:lumOff val="90000"/>
                    <a:alpha val="50000"/>
                  </a:schemeClr>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127442908"/>
      </p:ext>
    </p:extLst>
  </p:cSld>
  <p:clrMap bg1="lt1" tx1="dk1" bg2="lt2" tx2="dk2" accent1="accent1" accent2="accent2" accent3="accent3" accent4="accent4" accent5="accent5" accent6="accent6" hlink="hlink" folHlink="folHlink"/>
  <p:sldLayoutIdLst>
    <p:sldLayoutId id="2147485994" r:id="rId1"/>
    <p:sldLayoutId id="2147485995" r:id="rId2"/>
    <p:sldLayoutId id="2147485996" r:id="rId3"/>
    <p:sldLayoutId id="2147485997" r:id="rId4"/>
    <p:sldLayoutId id="2147485998" r:id="rId5"/>
    <p:sldLayoutId id="2147485999" r:id="rId6"/>
    <p:sldLayoutId id="2147486000" r:id="rId7"/>
    <p:sldLayoutId id="2147486001" r:id="rId8"/>
    <p:sldLayoutId id="2147486002" r:id="rId9"/>
    <p:sldLayoutId id="2147486003" r:id="rId10"/>
    <p:sldLayoutId id="2147486004" r:id="rId11"/>
    <p:sldLayoutId id="2147486005" r:id="rId12"/>
    <p:sldLayoutId id="2147486006" r:id="rId13"/>
    <p:sldLayoutId id="2147486007" r:id="rId14"/>
    <p:sldLayoutId id="2147486008" r:id="rId15"/>
    <p:sldLayoutId id="2147486009" r:id="rId16"/>
    <p:sldLayoutId id="2147486351" r:id="rId17"/>
    <p:sldLayoutId id="2147486352"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blackWhite">
      <p:bgPr>
        <a:solidFill>
          <a:srgbClr val="F4F3F5"/>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Click to edit Master text styles</a:t>
            </a:r>
          </a:p>
          <a:p>
            <a:pPr marL="2286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Second level</a:t>
            </a:r>
          </a:p>
          <a:p>
            <a:pPr marL="228600" marR="0" lvl="2"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Third level</a:t>
            </a:r>
          </a:p>
          <a:p>
            <a:pPr marL="228600" marR="0" lvl="3"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Fourth level</a:t>
            </a:r>
          </a:p>
          <a:p>
            <a:pPr marL="228600" marR="0" lvl="4"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258" name="Group 257">
            <a:extLst>
              <a:ext uri="{FF2B5EF4-FFF2-40B4-BE49-F238E27FC236}">
                <a16:creationId xmlns:a16="http://schemas.microsoft.com/office/drawing/2014/main" id="{566C3ED6-7167-1619-C333-B86D0D162316}"/>
              </a:ext>
            </a:extLst>
          </p:cNvPr>
          <p:cNvGrpSpPr>
            <a:grpSpLocks noChangeAspect="1"/>
          </p:cNvGrpSpPr>
          <p:nvPr userDrawn="1"/>
        </p:nvGrpSpPr>
        <p:grpSpPr bwMode="auto">
          <a:xfrm rot="5400000">
            <a:off x="10659863" y="3998558"/>
            <a:ext cx="4597400" cy="1169987"/>
            <a:chOff x="1529" y="1423"/>
            <a:chExt cx="2896" cy="737"/>
          </a:xfrm>
        </p:grpSpPr>
        <p:sp>
          <p:nvSpPr>
            <p:cNvPr id="259" name="AutoShape 3">
              <a:extLst>
                <a:ext uri="{FF2B5EF4-FFF2-40B4-BE49-F238E27FC236}">
                  <a16:creationId xmlns:a16="http://schemas.microsoft.com/office/drawing/2014/main" id="{894C58B4-3C22-9620-7C92-D65ED6617E67}"/>
                </a:ext>
              </a:extLst>
            </p:cNvPr>
            <p:cNvSpPr>
              <a:spLocks noChangeAspect="1" noChangeArrowheads="1" noTextEdit="1"/>
            </p:cNvSpPr>
            <p:nvPr/>
          </p:nvSpPr>
          <p:spPr bwMode="auto">
            <a:xfrm>
              <a:off x="1529" y="1423"/>
              <a:ext cx="2896" cy="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Rectangle 5">
              <a:extLst>
                <a:ext uri="{FF2B5EF4-FFF2-40B4-BE49-F238E27FC236}">
                  <a16:creationId xmlns:a16="http://schemas.microsoft.com/office/drawing/2014/main" id="{B4F93CCF-3F88-5DCB-F12D-4DEBF36B9444}"/>
                </a:ext>
              </a:extLst>
            </p:cNvPr>
            <p:cNvSpPr>
              <a:spLocks noChangeArrowheads="1"/>
            </p:cNvSpPr>
            <p:nvPr/>
          </p:nvSpPr>
          <p:spPr bwMode="auto">
            <a:xfrm>
              <a:off x="2254" y="1727"/>
              <a:ext cx="707" cy="135"/>
            </a:xfrm>
            <a:prstGeom prst="rect">
              <a:avLst/>
            </a:prstGeom>
            <a:solidFill>
              <a:srgbClr val="F436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Rectangle 6">
              <a:extLst>
                <a:ext uri="{FF2B5EF4-FFF2-40B4-BE49-F238E27FC236}">
                  <a16:creationId xmlns:a16="http://schemas.microsoft.com/office/drawing/2014/main" id="{7AC4893A-D0A3-D947-BE61-70B6DC4B9314}"/>
                </a:ext>
              </a:extLst>
            </p:cNvPr>
            <p:cNvSpPr>
              <a:spLocks noChangeArrowheads="1"/>
            </p:cNvSpPr>
            <p:nvPr/>
          </p:nvSpPr>
          <p:spPr bwMode="auto">
            <a:xfrm>
              <a:off x="2264" y="1722"/>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chemeClr val="bg1"/>
                  </a:solidFill>
                  <a:effectLst/>
                  <a:latin typeface="Segoe UI Black" panose="020B0A02040204020203" pitchFamily="34" charset="0"/>
                </a:rPr>
                <a:t>A</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262" name="Rectangle 7">
              <a:extLst>
                <a:ext uri="{FF2B5EF4-FFF2-40B4-BE49-F238E27FC236}">
                  <a16:creationId xmlns:a16="http://schemas.microsoft.com/office/drawing/2014/main" id="{DE65DAC6-345A-2542-166A-D2D08E76F806}"/>
                </a:ext>
              </a:extLst>
            </p:cNvPr>
            <p:cNvSpPr>
              <a:spLocks noChangeArrowheads="1"/>
            </p:cNvSpPr>
            <p:nvPr/>
          </p:nvSpPr>
          <p:spPr bwMode="auto">
            <a:xfrm>
              <a:off x="2264" y="1800"/>
              <a:ext cx="13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F4364C</a:t>
              </a:r>
              <a:endParaRPr kumimoji="0" lang="en-US" altLang="en-US" sz="1800" b="0" i="0" u="none" strike="noStrike" cap="none" normalizeH="0" baseline="0">
                <a:ln>
                  <a:noFill/>
                </a:ln>
                <a:effectLst/>
                <a:latin typeface="Arial" panose="020B0604020202020204" pitchFamily="34" charset="0"/>
              </a:endParaRPr>
            </a:p>
          </p:txBody>
        </p:sp>
        <p:sp>
          <p:nvSpPr>
            <p:cNvPr id="263" name="Rectangle 8">
              <a:extLst>
                <a:ext uri="{FF2B5EF4-FFF2-40B4-BE49-F238E27FC236}">
                  <a16:creationId xmlns:a16="http://schemas.microsoft.com/office/drawing/2014/main" id="{1EADC519-4AB4-60A0-260A-EF7DC8229A97}"/>
                </a:ext>
              </a:extLst>
            </p:cNvPr>
            <p:cNvSpPr>
              <a:spLocks noChangeArrowheads="1"/>
            </p:cNvSpPr>
            <p:nvPr/>
          </p:nvSpPr>
          <p:spPr bwMode="auto">
            <a:xfrm>
              <a:off x="2254" y="1871"/>
              <a:ext cx="707" cy="137"/>
            </a:xfrm>
            <a:prstGeom prst="rect">
              <a:avLst/>
            </a:prstGeom>
            <a:solidFill>
              <a:srgbClr val="7326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Rectangle 9">
              <a:extLst>
                <a:ext uri="{FF2B5EF4-FFF2-40B4-BE49-F238E27FC236}">
                  <a16:creationId xmlns:a16="http://schemas.microsoft.com/office/drawing/2014/main" id="{B2CFF324-4BA8-188D-7395-AC042B4D6560}"/>
                </a:ext>
              </a:extLst>
            </p:cNvPr>
            <p:cNvSpPr>
              <a:spLocks noChangeArrowheads="1"/>
            </p:cNvSpPr>
            <p:nvPr/>
          </p:nvSpPr>
          <p:spPr bwMode="auto">
            <a:xfrm>
              <a:off x="2264" y="1865"/>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B3BB"/>
                  </a:solidFill>
                  <a:effectLst/>
                  <a:latin typeface="Segoe UI Black" panose="020B0A02040204020203" pitchFamily="34" charset="0"/>
                </a:rPr>
                <a:t>A</a:t>
              </a:r>
              <a:endParaRPr kumimoji="0" lang="en-US" altLang="en-US" sz="1800" b="0" i="0" u="none" strike="noStrike" cap="none" normalizeH="0" baseline="0">
                <a:ln>
                  <a:noFill/>
                </a:ln>
                <a:solidFill>
                  <a:srgbClr val="FFB3BB"/>
                </a:solidFill>
                <a:effectLst/>
                <a:latin typeface="Arial" panose="020B0604020202020204" pitchFamily="34" charset="0"/>
              </a:endParaRPr>
            </a:p>
          </p:txBody>
        </p:sp>
        <p:sp>
          <p:nvSpPr>
            <p:cNvPr id="265" name="Rectangle 10">
              <a:extLst>
                <a:ext uri="{FF2B5EF4-FFF2-40B4-BE49-F238E27FC236}">
                  <a16:creationId xmlns:a16="http://schemas.microsoft.com/office/drawing/2014/main" id="{03BDB961-C287-23C5-66DF-74F0AFDFB76B}"/>
                </a:ext>
              </a:extLst>
            </p:cNvPr>
            <p:cNvSpPr>
              <a:spLocks noChangeArrowheads="1"/>
            </p:cNvSpPr>
            <p:nvPr/>
          </p:nvSpPr>
          <p:spPr bwMode="auto">
            <a:xfrm>
              <a:off x="2329" y="1865"/>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6" name="Rectangle 11">
              <a:extLst>
                <a:ext uri="{FF2B5EF4-FFF2-40B4-BE49-F238E27FC236}">
                  <a16:creationId xmlns:a16="http://schemas.microsoft.com/office/drawing/2014/main" id="{35ADEDE9-FB7B-876E-7225-4D3AB73422EF}"/>
                </a:ext>
              </a:extLst>
            </p:cNvPr>
            <p:cNvSpPr>
              <a:spLocks noChangeArrowheads="1"/>
            </p:cNvSpPr>
            <p:nvPr/>
          </p:nvSpPr>
          <p:spPr bwMode="auto">
            <a:xfrm>
              <a:off x="2264" y="1943"/>
              <a:ext cx="131"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3262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7" name="Rectangle 12">
              <a:extLst>
                <a:ext uri="{FF2B5EF4-FFF2-40B4-BE49-F238E27FC236}">
                  <a16:creationId xmlns:a16="http://schemas.microsoft.com/office/drawing/2014/main" id="{03DA7BF6-FE99-195F-2925-BD0968D0CE23}"/>
                </a:ext>
              </a:extLst>
            </p:cNvPr>
            <p:cNvSpPr>
              <a:spLocks noChangeArrowheads="1"/>
            </p:cNvSpPr>
            <p:nvPr/>
          </p:nvSpPr>
          <p:spPr bwMode="auto">
            <a:xfrm>
              <a:off x="2254" y="1582"/>
              <a:ext cx="707" cy="136"/>
            </a:xfrm>
            <a:prstGeom prst="rect">
              <a:avLst/>
            </a:prstGeom>
            <a:solidFill>
              <a:srgbClr val="FFB3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Rectangle 13">
              <a:extLst>
                <a:ext uri="{FF2B5EF4-FFF2-40B4-BE49-F238E27FC236}">
                  <a16:creationId xmlns:a16="http://schemas.microsoft.com/office/drawing/2014/main" id="{AE1CAD70-4A31-E224-8481-B797DB87F72F}"/>
                </a:ext>
              </a:extLst>
            </p:cNvPr>
            <p:cNvSpPr>
              <a:spLocks noChangeArrowheads="1"/>
            </p:cNvSpPr>
            <p:nvPr/>
          </p:nvSpPr>
          <p:spPr bwMode="auto">
            <a:xfrm>
              <a:off x="2264" y="1577"/>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3262F"/>
                  </a:solidFill>
                  <a:effectLst/>
                  <a:latin typeface="Segoe UI Black" panose="020B0A02040204020203" pitchFamily="34" charset="0"/>
                </a:rPr>
                <a:t>A</a:t>
              </a:r>
              <a:endParaRPr kumimoji="0" lang="en-US" altLang="en-US" sz="1800" b="0" i="0" u="none" strike="noStrike" cap="none" normalizeH="0" baseline="0">
                <a:ln>
                  <a:noFill/>
                </a:ln>
                <a:solidFill>
                  <a:srgbClr val="73262F"/>
                </a:solidFill>
                <a:effectLst/>
                <a:latin typeface="Arial" panose="020B0604020202020204" pitchFamily="34" charset="0"/>
              </a:endParaRPr>
            </a:p>
          </p:txBody>
        </p:sp>
        <p:sp>
          <p:nvSpPr>
            <p:cNvPr id="269" name="Rectangle 14">
              <a:extLst>
                <a:ext uri="{FF2B5EF4-FFF2-40B4-BE49-F238E27FC236}">
                  <a16:creationId xmlns:a16="http://schemas.microsoft.com/office/drawing/2014/main" id="{50413BA8-271F-17E9-274D-A6681E4E35BE}"/>
                </a:ext>
              </a:extLst>
            </p:cNvPr>
            <p:cNvSpPr>
              <a:spLocks noChangeArrowheads="1"/>
            </p:cNvSpPr>
            <p:nvPr/>
          </p:nvSpPr>
          <p:spPr bwMode="auto">
            <a:xfrm>
              <a:off x="2329" y="1577"/>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0" name="Rectangle 15">
              <a:extLst>
                <a:ext uri="{FF2B5EF4-FFF2-40B4-BE49-F238E27FC236}">
                  <a16:creationId xmlns:a16="http://schemas.microsoft.com/office/drawing/2014/main" id="{5E8A55D7-5C9F-19E4-44F8-0D5ED73A059E}"/>
                </a:ext>
              </a:extLst>
            </p:cNvPr>
            <p:cNvSpPr>
              <a:spLocks noChangeArrowheads="1"/>
            </p:cNvSpPr>
            <p:nvPr/>
          </p:nvSpPr>
          <p:spPr bwMode="auto">
            <a:xfrm>
              <a:off x="2264" y="1654"/>
              <a:ext cx="132"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B3B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1" name="Rectangle 16">
              <a:extLst>
                <a:ext uri="{FF2B5EF4-FFF2-40B4-BE49-F238E27FC236}">
                  <a16:creationId xmlns:a16="http://schemas.microsoft.com/office/drawing/2014/main" id="{AB98BB47-C797-09CC-A9F3-51FE51653B12}"/>
                </a:ext>
              </a:extLst>
            </p:cNvPr>
            <p:cNvSpPr>
              <a:spLocks noChangeArrowheads="1"/>
            </p:cNvSpPr>
            <p:nvPr/>
          </p:nvSpPr>
          <p:spPr bwMode="auto">
            <a:xfrm>
              <a:off x="2255" y="2022"/>
              <a:ext cx="706" cy="1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Rectangle 17">
              <a:extLst>
                <a:ext uri="{FF2B5EF4-FFF2-40B4-BE49-F238E27FC236}">
                  <a16:creationId xmlns:a16="http://schemas.microsoft.com/office/drawing/2014/main" id="{C52F19C0-13E8-0692-788F-02A274A980BA}"/>
                </a:ext>
              </a:extLst>
            </p:cNvPr>
            <p:cNvSpPr>
              <a:spLocks noChangeArrowheads="1"/>
            </p:cNvSpPr>
            <p:nvPr/>
          </p:nvSpPr>
          <p:spPr bwMode="auto">
            <a:xfrm>
              <a:off x="2255" y="2022"/>
              <a:ext cx="706" cy="136"/>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3" name="Rectangle 18">
              <a:extLst>
                <a:ext uri="{FF2B5EF4-FFF2-40B4-BE49-F238E27FC236}">
                  <a16:creationId xmlns:a16="http://schemas.microsoft.com/office/drawing/2014/main" id="{0EF8B30C-1FB6-7C73-44FC-2C39DF7549A8}"/>
                </a:ext>
              </a:extLst>
            </p:cNvPr>
            <p:cNvSpPr>
              <a:spLocks noChangeArrowheads="1"/>
            </p:cNvSpPr>
            <p:nvPr/>
          </p:nvSpPr>
          <p:spPr bwMode="auto">
            <a:xfrm>
              <a:off x="2264" y="2024"/>
              <a:ext cx="121"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FFF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4" name="Rectangle 50">
              <a:extLst>
                <a:ext uri="{FF2B5EF4-FFF2-40B4-BE49-F238E27FC236}">
                  <a16:creationId xmlns:a16="http://schemas.microsoft.com/office/drawing/2014/main" id="{D25297AC-6025-DA45-015A-AD5967168C02}"/>
                </a:ext>
              </a:extLst>
            </p:cNvPr>
            <p:cNvSpPr>
              <a:spLocks noChangeArrowheads="1"/>
            </p:cNvSpPr>
            <p:nvPr/>
          </p:nvSpPr>
          <p:spPr bwMode="auto">
            <a:xfrm>
              <a:off x="1533" y="1727"/>
              <a:ext cx="706" cy="135"/>
            </a:xfrm>
            <a:prstGeom prst="rect">
              <a:avLst/>
            </a:prstGeom>
            <a:solidFill>
              <a:srgbClr val="FF5C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Rectangle 51">
              <a:extLst>
                <a:ext uri="{FF2B5EF4-FFF2-40B4-BE49-F238E27FC236}">
                  <a16:creationId xmlns:a16="http://schemas.microsoft.com/office/drawing/2014/main" id="{D895CA29-DE29-0BF3-3158-751FF8EC37F0}"/>
                </a:ext>
              </a:extLst>
            </p:cNvPr>
            <p:cNvSpPr>
              <a:spLocks noChangeArrowheads="1"/>
            </p:cNvSpPr>
            <p:nvPr/>
          </p:nvSpPr>
          <p:spPr bwMode="auto">
            <a:xfrm>
              <a:off x="1542" y="1722"/>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chemeClr val="bg1"/>
                  </a:solidFill>
                  <a:effectLst/>
                  <a:latin typeface="Segoe UI Black" panose="020B0A02040204020203" pitchFamily="34" charset="0"/>
                </a:rPr>
                <a:t>A</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276" name="Rectangle 52">
              <a:extLst>
                <a:ext uri="{FF2B5EF4-FFF2-40B4-BE49-F238E27FC236}">
                  <a16:creationId xmlns:a16="http://schemas.microsoft.com/office/drawing/2014/main" id="{7EFCFC16-4A98-86AC-7619-A114CF099F7D}"/>
                </a:ext>
              </a:extLst>
            </p:cNvPr>
            <p:cNvSpPr>
              <a:spLocks noChangeArrowheads="1"/>
            </p:cNvSpPr>
            <p:nvPr/>
          </p:nvSpPr>
          <p:spPr bwMode="auto">
            <a:xfrm>
              <a:off x="1608" y="1722"/>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7" name="Rectangle 53">
              <a:extLst>
                <a:ext uri="{FF2B5EF4-FFF2-40B4-BE49-F238E27FC236}">
                  <a16:creationId xmlns:a16="http://schemas.microsoft.com/office/drawing/2014/main" id="{B9712463-FD5D-ABC4-36B0-C830E76330F6}"/>
                </a:ext>
              </a:extLst>
            </p:cNvPr>
            <p:cNvSpPr>
              <a:spLocks noChangeArrowheads="1"/>
            </p:cNvSpPr>
            <p:nvPr/>
          </p:nvSpPr>
          <p:spPr bwMode="auto">
            <a:xfrm>
              <a:off x="1542" y="1800"/>
              <a:ext cx="132"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FF5C39</a:t>
              </a:r>
              <a:endParaRPr kumimoji="0" lang="en-US" altLang="en-US" sz="1800" b="0" i="0" u="none" strike="noStrike" cap="none" normalizeH="0" baseline="0">
                <a:ln>
                  <a:noFill/>
                </a:ln>
                <a:effectLst/>
                <a:latin typeface="Arial" panose="020B0604020202020204" pitchFamily="34" charset="0"/>
              </a:endParaRPr>
            </a:p>
          </p:txBody>
        </p:sp>
        <p:sp>
          <p:nvSpPr>
            <p:cNvPr id="278" name="Rectangle 54">
              <a:extLst>
                <a:ext uri="{FF2B5EF4-FFF2-40B4-BE49-F238E27FC236}">
                  <a16:creationId xmlns:a16="http://schemas.microsoft.com/office/drawing/2014/main" id="{8ACAB4E1-6417-0C0C-9E12-B1E8EEA4613E}"/>
                </a:ext>
              </a:extLst>
            </p:cNvPr>
            <p:cNvSpPr>
              <a:spLocks noChangeArrowheads="1"/>
            </p:cNvSpPr>
            <p:nvPr/>
          </p:nvSpPr>
          <p:spPr bwMode="auto">
            <a:xfrm>
              <a:off x="1533" y="1871"/>
              <a:ext cx="706" cy="137"/>
            </a:xfrm>
            <a:prstGeom prst="rect">
              <a:avLst/>
            </a:prstGeom>
            <a:solidFill>
              <a:srgbClr val="7339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Rectangle 55">
              <a:extLst>
                <a:ext uri="{FF2B5EF4-FFF2-40B4-BE49-F238E27FC236}">
                  <a16:creationId xmlns:a16="http://schemas.microsoft.com/office/drawing/2014/main" id="{7E6BE592-BF8C-8CF1-0798-04DA17C036E6}"/>
                </a:ext>
              </a:extLst>
            </p:cNvPr>
            <p:cNvSpPr>
              <a:spLocks noChangeArrowheads="1"/>
            </p:cNvSpPr>
            <p:nvPr/>
          </p:nvSpPr>
          <p:spPr bwMode="auto">
            <a:xfrm>
              <a:off x="1542" y="1865"/>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A38B"/>
                  </a:solidFill>
                  <a:effectLst/>
                  <a:latin typeface="Segoe UI Black" panose="020B0A02040204020203" pitchFamily="34" charset="0"/>
                </a:rPr>
                <a:t>A</a:t>
              </a:r>
              <a:endParaRPr kumimoji="0" lang="en-US" altLang="en-US" sz="1800" b="0" i="0" u="none" strike="noStrike" cap="none" normalizeH="0" baseline="0">
                <a:ln>
                  <a:noFill/>
                </a:ln>
                <a:solidFill>
                  <a:srgbClr val="FFA38B"/>
                </a:solidFill>
                <a:effectLst/>
                <a:latin typeface="Arial" panose="020B0604020202020204" pitchFamily="34" charset="0"/>
              </a:endParaRPr>
            </a:p>
          </p:txBody>
        </p:sp>
        <p:sp>
          <p:nvSpPr>
            <p:cNvPr id="280" name="Rectangle 56">
              <a:extLst>
                <a:ext uri="{FF2B5EF4-FFF2-40B4-BE49-F238E27FC236}">
                  <a16:creationId xmlns:a16="http://schemas.microsoft.com/office/drawing/2014/main" id="{F02A06DF-8715-F16B-5F10-11C5F2584525}"/>
                </a:ext>
              </a:extLst>
            </p:cNvPr>
            <p:cNvSpPr>
              <a:spLocks noChangeArrowheads="1"/>
            </p:cNvSpPr>
            <p:nvPr/>
          </p:nvSpPr>
          <p:spPr bwMode="auto">
            <a:xfrm>
              <a:off x="1608" y="1865"/>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1" name="Rectangle 57">
              <a:extLst>
                <a:ext uri="{FF2B5EF4-FFF2-40B4-BE49-F238E27FC236}">
                  <a16:creationId xmlns:a16="http://schemas.microsoft.com/office/drawing/2014/main" id="{45F29D9D-6572-80B7-280A-53297335FBF7}"/>
                </a:ext>
              </a:extLst>
            </p:cNvPr>
            <p:cNvSpPr>
              <a:spLocks noChangeArrowheads="1"/>
            </p:cNvSpPr>
            <p:nvPr/>
          </p:nvSpPr>
          <p:spPr bwMode="auto">
            <a:xfrm>
              <a:off x="1542" y="1943"/>
              <a:ext cx="139"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3391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2" name="Rectangle 58">
              <a:extLst>
                <a:ext uri="{FF2B5EF4-FFF2-40B4-BE49-F238E27FC236}">
                  <a16:creationId xmlns:a16="http://schemas.microsoft.com/office/drawing/2014/main" id="{013A62C5-A54C-C8BE-D34C-557861D50FBB}"/>
                </a:ext>
              </a:extLst>
            </p:cNvPr>
            <p:cNvSpPr>
              <a:spLocks noChangeArrowheads="1"/>
            </p:cNvSpPr>
            <p:nvPr/>
          </p:nvSpPr>
          <p:spPr bwMode="auto">
            <a:xfrm>
              <a:off x="1533" y="1582"/>
              <a:ext cx="706" cy="136"/>
            </a:xfrm>
            <a:prstGeom prst="rect">
              <a:avLst/>
            </a:prstGeom>
            <a:solidFill>
              <a:srgbClr val="FFA38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Rectangle 59">
              <a:extLst>
                <a:ext uri="{FF2B5EF4-FFF2-40B4-BE49-F238E27FC236}">
                  <a16:creationId xmlns:a16="http://schemas.microsoft.com/office/drawing/2014/main" id="{A3D38249-2B2F-44FE-8004-78F738A54143}"/>
                </a:ext>
              </a:extLst>
            </p:cNvPr>
            <p:cNvSpPr>
              <a:spLocks noChangeArrowheads="1"/>
            </p:cNvSpPr>
            <p:nvPr/>
          </p:nvSpPr>
          <p:spPr bwMode="auto">
            <a:xfrm>
              <a:off x="1542" y="1577"/>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3391D"/>
                  </a:solidFill>
                  <a:effectLst/>
                  <a:latin typeface="Segoe UI Black" panose="020B0A02040204020203" pitchFamily="34" charset="0"/>
                </a:rPr>
                <a:t>A</a:t>
              </a:r>
              <a:endParaRPr kumimoji="0" lang="en-US" altLang="en-US" sz="1800" b="0" i="0" u="none" strike="noStrike" cap="none" normalizeH="0" baseline="0">
                <a:ln>
                  <a:noFill/>
                </a:ln>
                <a:solidFill>
                  <a:srgbClr val="73391D"/>
                </a:solidFill>
                <a:effectLst/>
                <a:latin typeface="Arial" panose="020B0604020202020204" pitchFamily="34" charset="0"/>
              </a:endParaRPr>
            </a:p>
          </p:txBody>
        </p:sp>
        <p:sp>
          <p:nvSpPr>
            <p:cNvPr id="284" name="Rectangle 60">
              <a:extLst>
                <a:ext uri="{FF2B5EF4-FFF2-40B4-BE49-F238E27FC236}">
                  <a16:creationId xmlns:a16="http://schemas.microsoft.com/office/drawing/2014/main" id="{6356C9D6-F46C-5F18-CC06-57CEDB989050}"/>
                </a:ext>
              </a:extLst>
            </p:cNvPr>
            <p:cNvSpPr>
              <a:spLocks noChangeArrowheads="1"/>
            </p:cNvSpPr>
            <p:nvPr/>
          </p:nvSpPr>
          <p:spPr bwMode="auto">
            <a:xfrm>
              <a:off x="1608" y="1577"/>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5" name="Rectangle 61">
              <a:extLst>
                <a:ext uri="{FF2B5EF4-FFF2-40B4-BE49-F238E27FC236}">
                  <a16:creationId xmlns:a16="http://schemas.microsoft.com/office/drawing/2014/main" id="{809C64CC-0B9B-063B-F7A5-63EE36FBDCCD}"/>
                </a:ext>
              </a:extLst>
            </p:cNvPr>
            <p:cNvSpPr>
              <a:spLocks noChangeArrowheads="1"/>
            </p:cNvSpPr>
            <p:nvPr/>
          </p:nvSpPr>
          <p:spPr bwMode="auto">
            <a:xfrm>
              <a:off x="1542" y="1654"/>
              <a:ext cx="13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A38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6" name="Rectangle 62">
              <a:extLst>
                <a:ext uri="{FF2B5EF4-FFF2-40B4-BE49-F238E27FC236}">
                  <a16:creationId xmlns:a16="http://schemas.microsoft.com/office/drawing/2014/main" id="{94AB9329-702D-4A1F-E5A5-C3B78F016261}"/>
                </a:ext>
              </a:extLst>
            </p:cNvPr>
            <p:cNvSpPr>
              <a:spLocks noChangeArrowheads="1"/>
            </p:cNvSpPr>
            <p:nvPr/>
          </p:nvSpPr>
          <p:spPr bwMode="auto">
            <a:xfrm>
              <a:off x="1533" y="2022"/>
              <a:ext cx="707" cy="136"/>
            </a:xfrm>
            <a:prstGeom prst="rect">
              <a:avLst/>
            </a:prstGeom>
            <a:solidFill>
              <a:srgbClr val="F4F3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63">
              <a:extLst>
                <a:ext uri="{FF2B5EF4-FFF2-40B4-BE49-F238E27FC236}">
                  <a16:creationId xmlns:a16="http://schemas.microsoft.com/office/drawing/2014/main" id="{24EB0818-3B44-BF17-FF2B-E025C738466C}"/>
                </a:ext>
              </a:extLst>
            </p:cNvPr>
            <p:cNvSpPr>
              <a:spLocks noChangeArrowheads="1"/>
            </p:cNvSpPr>
            <p:nvPr/>
          </p:nvSpPr>
          <p:spPr bwMode="auto">
            <a:xfrm>
              <a:off x="1533" y="2022"/>
              <a:ext cx="707" cy="136"/>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8" name="Rectangle 64">
              <a:extLst>
                <a:ext uri="{FF2B5EF4-FFF2-40B4-BE49-F238E27FC236}">
                  <a16:creationId xmlns:a16="http://schemas.microsoft.com/office/drawing/2014/main" id="{8D3440B3-96D8-0B26-9877-7E62CD77370D}"/>
                </a:ext>
              </a:extLst>
            </p:cNvPr>
            <p:cNvSpPr>
              <a:spLocks noChangeArrowheads="1"/>
            </p:cNvSpPr>
            <p:nvPr/>
          </p:nvSpPr>
          <p:spPr bwMode="auto">
            <a:xfrm>
              <a:off x="1542" y="2024"/>
              <a:ext cx="127"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4F3F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9" name="Rectangle 65">
              <a:extLst>
                <a:ext uri="{FF2B5EF4-FFF2-40B4-BE49-F238E27FC236}">
                  <a16:creationId xmlns:a16="http://schemas.microsoft.com/office/drawing/2014/main" id="{64795BFF-26DD-4F9D-7E57-E8A3C163A079}"/>
                </a:ext>
              </a:extLst>
            </p:cNvPr>
            <p:cNvSpPr>
              <a:spLocks noChangeArrowheads="1"/>
            </p:cNvSpPr>
            <p:nvPr/>
          </p:nvSpPr>
          <p:spPr bwMode="auto">
            <a:xfrm>
              <a:off x="3698" y="1729"/>
              <a:ext cx="707" cy="13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Rectangle 66">
              <a:extLst>
                <a:ext uri="{FF2B5EF4-FFF2-40B4-BE49-F238E27FC236}">
                  <a16:creationId xmlns:a16="http://schemas.microsoft.com/office/drawing/2014/main" id="{973E90C8-2FFF-2256-D29B-6A3ABBA35099}"/>
                </a:ext>
              </a:extLst>
            </p:cNvPr>
            <p:cNvSpPr>
              <a:spLocks noChangeArrowheads="1"/>
            </p:cNvSpPr>
            <p:nvPr/>
          </p:nvSpPr>
          <p:spPr bwMode="auto">
            <a:xfrm>
              <a:off x="3707" y="1723"/>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1" name="Rectangle 67">
              <a:extLst>
                <a:ext uri="{FF2B5EF4-FFF2-40B4-BE49-F238E27FC236}">
                  <a16:creationId xmlns:a16="http://schemas.microsoft.com/office/drawing/2014/main" id="{F146B7CE-CBC5-956E-DA0D-244A26F54704}"/>
                </a:ext>
              </a:extLst>
            </p:cNvPr>
            <p:cNvSpPr>
              <a:spLocks noChangeArrowheads="1"/>
            </p:cNvSpPr>
            <p:nvPr/>
          </p:nvSpPr>
          <p:spPr bwMode="auto">
            <a:xfrm>
              <a:off x="3773" y="1723"/>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2" name="Rectangle 68">
              <a:extLst>
                <a:ext uri="{FF2B5EF4-FFF2-40B4-BE49-F238E27FC236}">
                  <a16:creationId xmlns:a16="http://schemas.microsoft.com/office/drawing/2014/main" id="{841A3A9C-7ABE-216A-7AAA-FC8E018652B9}"/>
                </a:ext>
              </a:extLst>
            </p:cNvPr>
            <p:cNvSpPr>
              <a:spLocks noChangeArrowheads="1"/>
            </p:cNvSpPr>
            <p:nvPr/>
          </p:nvSpPr>
          <p:spPr bwMode="auto">
            <a:xfrm>
              <a:off x="3707" y="1801"/>
              <a:ext cx="139"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chemeClr val="bg1"/>
                  </a:solidFill>
                  <a:effectLst/>
                  <a:latin typeface="Segoe UI" panose="020B0502040204020203" pitchFamily="34" charset="0"/>
                </a:rPr>
                <a:t>0078D4</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293" name="Rectangle 69">
              <a:extLst>
                <a:ext uri="{FF2B5EF4-FFF2-40B4-BE49-F238E27FC236}">
                  <a16:creationId xmlns:a16="http://schemas.microsoft.com/office/drawing/2014/main" id="{B67B7695-C3C0-34B4-72B1-C7E58FF3275A}"/>
                </a:ext>
              </a:extLst>
            </p:cNvPr>
            <p:cNvSpPr>
              <a:spLocks noChangeArrowheads="1"/>
            </p:cNvSpPr>
            <p:nvPr/>
          </p:nvSpPr>
          <p:spPr bwMode="auto">
            <a:xfrm>
              <a:off x="3698" y="1873"/>
              <a:ext cx="707" cy="136"/>
            </a:xfrm>
            <a:prstGeom prst="rect">
              <a:avLst/>
            </a:prstGeom>
            <a:solidFill>
              <a:srgbClr val="2A44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Rectangle 70">
              <a:extLst>
                <a:ext uri="{FF2B5EF4-FFF2-40B4-BE49-F238E27FC236}">
                  <a16:creationId xmlns:a16="http://schemas.microsoft.com/office/drawing/2014/main" id="{F3BB6A3B-AD16-5C6E-2848-CC82A261CE5A}"/>
                </a:ext>
              </a:extLst>
            </p:cNvPr>
            <p:cNvSpPr>
              <a:spLocks noChangeArrowheads="1"/>
            </p:cNvSpPr>
            <p:nvPr/>
          </p:nvSpPr>
          <p:spPr bwMode="auto">
            <a:xfrm>
              <a:off x="3707" y="1866"/>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8DC8E8"/>
                  </a:solidFill>
                  <a:effectLst/>
                  <a:latin typeface="Segoe UI Black" panose="020B0A02040204020203" pitchFamily="34" charset="0"/>
                </a:rPr>
                <a:t>A</a:t>
              </a:r>
              <a:endParaRPr kumimoji="0" lang="en-US" altLang="en-US" sz="1800" b="0" i="0" u="none" strike="noStrike" cap="none" normalizeH="0" baseline="0">
                <a:ln>
                  <a:noFill/>
                </a:ln>
                <a:solidFill>
                  <a:srgbClr val="8DC8E8"/>
                </a:solidFill>
                <a:effectLst/>
                <a:latin typeface="Arial" panose="020B0604020202020204" pitchFamily="34" charset="0"/>
              </a:endParaRPr>
            </a:p>
          </p:txBody>
        </p:sp>
        <p:sp>
          <p:nvSpPr>
            <p:cNvPr id="295" name="Rectangle 71">
              <a:extLst>
                <a:ext uri="{FF2B5EF4-FFF2-40B4-BE49-F238E27FC236}">
                  <a16:creationId xmlns:a16="http://schemas.microsoft.com/office/drawing/2014/main" id="{AF58A79C-F974-45C7-A85C-F40D9A65E853}"/>
                </a:ext>
              </a:extLst>
            </p:cNvPr>
            <p:cNvSpPr>
              <a:spLocks noChangeArrowheads="1"/>
            </p:cNvSpPr>
            <p:nvPr/>
          </p:nvSpPr>
          <p:spPr bwMode="auto">
            <a:xfrm>
              <a:off x="3773" y="1866"/>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6" name="Rectangle 72">
              <a:extLst>
                <a:ext uri="{FF2B5EF4-FFF2-40B4-BE49-F238E27FC236}">
                  <a16:creationId xmlns:a16="http://schemas.microsoft.com/office/drawing/2014/main" id="{9CAD9107-51BE-8F4A-FEBB-F3BD3DC96520}"/>
                </a:ext>
              </a:extLst>
            </p:cNvPr>
            <p:cNvSpPr>
              <a:spLocks noChangeArrowheads="1"/>
            </p:cNvSpPr>
            <p:nvPr/>
          </p:nvSpPr>
          <p:spPr bwMode="auto">
            <a:xfrm>
              <a:off x="3707" y="1944"/>
              <a:ext cx="135"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2A446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7" name="Rectangle 73">
              <a:extLst>
                <a:ext uri="{FF2B5EF4-FFF2-40B4-BE49-F238E27FC236}">
                  <a16:creationId xmlns:a16="http://schemas.microsoft.com/office/drawing/2014/main" id="{F0CA8CB9-EFF0-9A10-BBC0-A9A36D6E6ADF}"/>
                </a:ext>
              </a:extLst>
            </p:cNvPr>
            <p:cNvSpPr>
              <a:spLocks noChangeArrowheads="1"/>
            </p:cNvSpPr>
            <p:nvPr/>
          </p:nvSpPr>
          <p:spPr bwMode="auto">
            <a:xfrm>
              <a:off x="3698" y="1583"/>
              <a:ext cx="707" cy="137"/>
            </a:xfrm>
            <a:prstGeom prst="rect">
              <a:avLst/>
            </a:prstGeom>
            <a:solidFill>
              <a:srgbClr val="8DC8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Rectangle 74">
              <a:extLst>
                <a:ext uri="{FF2B5EF4-FFF2-40B4-BE49-F238E27FC236}">
                  <a16:creationId xmlns:a16="http://schemas.microsoft.com/office/drawing/2014/main" id="{CF1A989F-9EAE-5BC1-AD31-5728CD61EE81}"/>
                </a:ext>
              </a:extLst>
            </p:cNvPr>
            <p:cNvSpPr>
              <a:spLocks noChangeArrowheads="1"/>
            </p:cNvSpPr>
            <p:nvPr/>
          </p:nvSpPr>
          <p:spPr bwMode="auto">
            <a:xfrm>
              <a:off x="3707" y="1578"/>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2A446F"/>
                  </a:solidFill>
                  <a:effectLst/>
                  <a:latin typeface="Segoe UI Black" panose="020B0A02040204020203" pitchFamily="34" charset="0"/>
                </a:rPr>
                <a:t>A</a:t>
              </a:r>
              <a:endParaRPr kumimoji="0" lang="en-US" altLang="en-US" sz="1800" b="0" i="0" u="none" strike="noStrike" cap="none" normalizeH="0" baseline="0">
                <a:ln>
                  <a:noFill/>
                </a:ln>
                <a:solidFill>
                  <a:srgbClr val="2A446F"/>
                </a:solidFill>
                <a:effectLst/>
                <a:latin typeface="Arial" panose="020B0604020202020204" pitchFamily="34" charset="0"/>
              </a:endParaRPr>
            </a:p>
          </p:txBody>
        </p:sp>
        <p:sp>
          <p:nvSpPr>
            <p:cNvPr id="299" name="Rectangle 75">
              <a:extLst>
                <a:ext uri="{FF2B5EF4-FFF2-40B4-BE49-F238E27FC236}">
                  <a16:creationId xmlns:a16="http://schemas.microsoft.com/office/drawing/2014/main" id="{957953AB-E9C6-D080-ADB2-1F206404C0B7}"/>
                </a:ext>
              </a:extLst>
            </p:cNvPr>
            <p:cNvSpPr>
              <a:spLocks noChangeArrowheads="1"/>
            </p:cNvSpPr>
            <p:nvPr/>
          </p:nvSpPr>
          <p:spPr bwMode="auto">
            <a:xfrm>
              <a:off x="3773" y="1578"/>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0" name="Rectangle 76">
              <a:extLst>
                <a:ext uri="{FF2B5EF4-FFF2-40B4-BE49-F238E27FC236}">
                  <a16:creationId xmlns:a16="http://schemas.microsoft.com/office/drawing/2014/main" id="{D3F9BD24-BF97-98DF-7799-FF5527E1F0E4}"/>
                </a:ext>
              </a:extLst>
            </p:cNvPr>
            <p:cNvSpPr>
              <a:spLocks noChangeArrowheads="1"/>
            </p:cNvSpPr>
            <p:nvPr/>
          </p:nvSpPr>
          <p:spPr bwMode="auto">
            <a:xfrm>
              <a:off x="3707" y="1655"/>
              <a:ext cx="140"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8DC8E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1" name="Rectangle 80">
              <a:extLst>
                <a:ext uri="{FF2B5EF4-FFF2-40B4-BE49-F238E27FC236}">
                  <a16:creationId xmlns:a16="http://schemas.microsoft.com/office/drawing/2014/main" id="{D9F904A4-74AE-C098-E989-4C11A3671B63}"/>
                </a:ext>
              </a:extLst>
            </p:cNvPr>
            <p:cNvSpPr>
              <a:spLocks noChangeArrowheads="1"/>
            </p:cNvSpPr>
            <p:nvPr/>
          </p:nvSpPr>
          <p:spPr bwMode="auto">
            <a:xfrm>
              <a:off x="2981" y="1438"/>
              <a:ext cx="1423" cy="135"/>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Rectangle 81">
              <a:extLst>
                <a:ext uri="{FF2B5EF4-FFF2-40B4-BE49-F238E27FC236}">
                  <a16:creationId xmlns:a16="http://schemas.microsoft.com/office/drawing/2014/main" id="{86561027-5502-5CBF-CC1E-E9283F7A3EA8}"/>
                </a:ext>
              </a:extLst>
            </p:cNvPr>
            <p:cNvSpPr>
              <a:spLocks noChangeArrowheads="1"/>
            </p:cNvSpPr>
            <p:nvPr/>
          </p:nvSpPr>
          <p:spPr bwMode="auto">
            <a:xfrm>
              <a:off x="2977" y="1437"/>
              <a:ext cx="1427" cy="1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82">
              <a:extLst>
                <a:ext uri="{FF2B5EF4-FFF2-40B4-BE49-F238E27FC236}">
                  <a16:creationId xmlns:a16="http://schemas.microsoft.com/office/drawing/2014/main" id="{815862B1-E237-764F-DF2A-70DEC4B6F67A}"/>
                </a:ext>
              </a:extLst>
            </p:cNvPr>
            <p:cNvSpPr>
              <a:spLocks noEditPoints="1"/>
            </p:cNvSpPr>
            <p:nvPr/>
          </p:nvSpPr>
          <p:spPr bwMode="auto">
            <a:xfrm>
              <a:off x="2978" y="1437"/>
              <a:ext cx="1427" cy="136"/>
            </a:xfrm>
            <a:custGeom>
              <a:avLst/>
              <a:gdLst>
                <a:gd name="T0" fmla="*/ 0 w 15200"/>
                <a:gd name="T1" fmla="*/ 4 h 960"/>
                <a:gd name="T2" fmla="*/ 4 w 15200"/>
                <a:gd name="T3" fmla="*/ 0 h 960"/>
                <a:gd name="T4" fmla="*/ 15196 w 15200"/>
                <a:gd name="T5" fmla="*/ 0 h 960"/>
                <a:gd name="T6" fmla="*/ 15200 w 15200"/>
                <a:gd name="T7" fmla="*/ 4 h 960"/>
                <a:gd name="T8" fmla="*/ 15200 w 15200"/>
                <a:gd name="T9" fmla="*/ 956 h 960"/>
                <a:gd name="T10" fmla="*/ 15196 w 15200"/>
                <a:gd name="T11" fmla="*/ 960 h 960"/>
                <a:gd name="T12" fmla="*/ 4 w 15200"/>
                <a:gd name="T13" fmla="*/ 960 h 960"/>
                <a:gd name="T14" fmla="*/ 0 w 15200"/>
                <a:gd name="T15" fmla="*/ 956 h 960"/>
                <a:gd name="T16" fmla="*/ 0 w 15200"/>
                <a:gd name="T17" fmla="*/ 4 h 960"/>
                <a:gd name="T18" fmla="*/ 8 w 15200"/>
                <a:gd name="T19" fmla="*/ 956 h 960"/>
                <a:gd name="T20" fmla="*/ 4 w 15200"/>
                <a:gd name="T21" fmla="*/ 952 h 960"/>
                <a:gd name="T22" fmla="*/ 15196 w 15200"/>
                <a:gd name="T23" fmla="*/ 952 h 960"/>
                <a:gd name="T24" fmla="*/ 15192 w 15200"/>
                <a:gd name="T25" fmla="*/ 956 h 960"/>
                <a:gd name="T26" fmla="*/ 15192 w 15200"/>
                <a:gd name="T27" fmla="*/ 4 h 960"/>
                <a:gd name="T28" fmla="*/ 15196 w 15200"/>
                <a:gd name="T29" fmla="*/ 8 h 960"/>
                <a:gd name="T30" fmla="*/ 4 w 15200"/>
                <a:gd name="T31" fmla="*/ 8 h 960"/>
                <a:gd name="T32" fmla="*/ 8 w 15200"/>
                <a:gd name="T33" fmla="*/ 4 h 960"/>
                <a:gd name="T34" fmla="*/ 8 w 15200"/>
                <a:gd name="T35" fmla="*/ 956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00" h="960">
                  <a:moveTo>
                    <a:pt x="0" y="4"/>
                  </a:moveTo>
                  <a:cubicBezTo>
                    <a:pt x="0" y="2"/>
                    <a:pt x="2" y="0"/>
                    <a:pt x="4" y="0"/>
                  </a:cubicBezTo>
                  <a:lnTo>
                    <a:pt x="15196" y="0"/>
                  </a:lnTo>
                  <a:cubicBezTo>
                    <a:pt x="15199" y="0"/>
                    <a:pt x="15200" y="2"/>
                    <a:pt x="15200" y="4"/>
                  </a:cubicBezTo>
                  <a:lnTo>
                    <a:pt x="15200" y="956"/>
                  </a:lnTo>
                  <a:cubicBezTo>
                    <a:pt x="15200" y="959"/>
                    <a:pt x="15199" y="960"/>
                    <a:pt x="15196" y="960"/>
                  </a:cubicBezTo>
                  <a:lnTo>
                    <a:pt x="4" y="960"/>
                  </a:lnTo>
                  <a:cubicBezTo>
                    <a:pt x="2" y="960"/>
                    <a:pt x="0" y="959"/>
                    <a:pt x="0" y="956"/>
                  </a:cubicBezTo>
                  <a:lnTo>
                    <a:pt x="0" y="4"/>
                  </a:lnTo>
                  <a:close/>
                  <a:moveTo>
                    <a:pt x="8" y="956"/>
                  </a:moveTo>
                  <a:lnTo>
                    <a:pt x="4" y="952"/>
                  </a:lnTo>
                  <a:lnTo>
                    <a:pt x="15196" y="952"/>
                  </a:lnTo>
                  <a:lnTo>
                    <a:pt x="15192" y="956"/>
                  </a:lnTo>
                  <a:lnTo>
                    <a:pt x="15192" y="4"/>
                  </a:lnTo>
                  <a:lnTo>
                    <a:pt x="15196" y="8"/>
                  </a:lnTo>
                  <a:lnTo>
                    <a:pt x="4" y="8"/>
                  </a:lnTo>
                  <a:lnTo>
                    <a:pt x="8" y="4"/>
                  </a:lnTo>
                  <a:lnTo>
                    <a:pt x="8" y="956"/>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Rectangle 83">
              <a:extLst>
                <a:ext uri="{FF2B5EF4-FFF2-40B4-BE49-F238E27FC236}">
                  <a16:creationId xmlns:a16="http://schemas.microsoft.com/office/drawing/2014/main" id="{F8634574-E07B-D28B-BCBE-E63D6F2B0F02}"/>
                </a:ext>
              </a:extLst>
            </p:cNvPr>
            <p:cNvSpPr>
              <a:spLocks noChangeArrowheads="1"/>
            </p:cNvSpPr>
            <p:nvPr/>
          </p:nvSpPr>
          <p:spPr bwMode="auto">
            <a:xfrm>
              <a:off x="2978" y="1437"/>
              <a:ext cx="1426" cy="1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Rectangle 84">
              <a:extLst>
                <a:ext uri="{FF2B5EF4-FFF2-40B4-BE49-F238E27FC236}">
                  <a16:creationId xmlns:a16="http://schemas.microsoft.com/office/drawing/2014/main" id="{12699538-90CB-E2BB-A02E-9CAD1104357C}"/>
                </a:ext>
              </a:extLst>
            </p:cNvPr>
            <p:cNvSpPr>
              <a:spLocks noChangeArrowheads="1"/>
            </p:cNvSpPr>
            <p:nvPr/>
          </p:nvSpPr>
          <p:spPr bwMode="auto">
            <a:xfrm>
              <a:off x="2989" y="1440"/>
              <a:ext cx="31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FFFFFF"/>
                  </a:solidFill>
                  <a:effectLst/>
                  <a:latin typeface="Segoe UI" panose="020B0502040204020203" pitchFamily="34" charset="0"/>
                </a:rPr>
                <a:t>Blue Blac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6" name="Rectangle 85">
              <a:extLst>
                <a:ext uri="{FF2B5EF4-FFF2-40B4-BE49-F238E27FC236}">
                  <a16:creationId xmlns:a16="http://schemas.microsoft.com/office/drawing/2014/main" id="{6FAB69FC-8CE4-AC4F-FDDF-81B46D7C1E11}"/>
                </a:ext>
              </a:extLst>
            </p:cNvPr>
            <p:cNvSpPr>
              <a:spLocks noChangeArrowheads="1"/>
            </p:cNvSpPr>
            <p:nvPr/>
          </p:nvSpPr>
          <p:spPr bwMode="auto">
            <a:xfrm>
              <a:off x="2989" y="1508"/>
              <a:ext cx="13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091F2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7" name="Rectangle 86">
              <a:extLst>
                <a:ext uri="{FF2B5EF4-FFF2-40B4-BE49-F238E27FC236}">
                  <a16:creationId xmlns:a16="http://schemas.microsoft.com/office/drawing/2014/main" id="{0B6C3A35-3676-F821-8B84-E8FCD2D7AEB0}"/>
                </a:ext>
              </a:extLst>
            </p:cNvPr>
            <p:cNvSpPr>
              <a:spLocks noChangeArrowheads="1"/>
            </p:cNvSpPr>
            <p:nvPr/>
          </p:nvSpPr>
          <p:spPr bwMode="auto">
            <a:xfrm>
              <a:off x="2977" y="1730"/>
              <a:ext cx="706" cy="136"/>
            </a:xfrm>
            <a:prstGeom prst="rect">
              <a:avLst/>
            </a:prstGeom>
            <a:solidFill>
              <a:srgbClr val="C73E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Rectangle 87">
              <a:extLst>
                <a:ext uri="{FF2B5EF4-FFF2-40B4-BE49-F238E27FC236}">
                  <a16:creationId xmlns:a16="http://schemas.microsoft.com/office/drawing/2014/main" id="{E31C635C-F918-E83E-41BB-6A05312AF804}"/>
                </a:ext>
              </a:extLst>
            </p:cNvPr>
            <p:cNvSpPr>
              <a:spLocks noChangeArrowheads="1"/>
            </p:cNvSpPr>
            <p:nvPr/>
          </p:nvSpPr>
          <p:spPr bwMode="auto">
            <a:xfrm>
              <a:off x="2985" y="1723"/>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9" name="Rectangle 88">
              <a:extLst>
                <a:ext uri="{FF2B5EF4-FFF2-40B4-BE49-F238E27FC236}">
                  <a16:creationId xmlns:a16="http://schemas.microsoft.com/office/drawing/2014/main" id="{C72C7396-887D-00AF-02FC-A8E598F00631}"/>
                </a:ext>
              </a:extLst>
            </p:cNvPr>
            <p:cNvSpPr>
              <a:spLocks noChangeArrowheads="1"/>
            </p:cNvSpPr>
            <p:nvPr/>
          </p:nvSpPr>
          <p:spPr bwMode="auto">
            <a:xfrm>
              <a:off x="2985" y="1803"/>
              <a:ext cx="140"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C73ECC</a:t>
              </a:r>
              <a:endParaRPr kumimoji="0" lang="en-US" altLang="en-US" sz="1800" b="0" i="0" u="none" strike="noStrike" cap="none" normalizeH="0" baseline="0">
                <a:ln>
                  <a:noFill/>
                </a:ln>
                <a:effectLst/>
                <a:latin typeface="Arial" panose="020B0604020202020204" pitchFamily="34" charset="0"/>
              </a:endParaRPr>
            </a:p>
          </p:txBody>
        </p:sp>
        <p:sp>
          <p:nvSpPr>
            <p:cNvPr id="310" name="Rectangle 89">
              <a:extLst>
                <a:ext uri="{FF2B5EF4-FFF2-40B4-BE49-F238E27FC236}">
                  <a16:creationId xmlns:a16="http://schemas.microsoft.com/office/drawing/2014/main" id="{D30DD6FD-51EB-19EC-8510-E1C9AF53735B}"/>
                </a:ext>
              </a:extLst>
            </p:cNvPr>
            <p:cNvSpPr>
              <a:spLocks noChangeArrowheads="1"/>
            </p:cNvSpPr>
            <p:nvPr/>
          </p:nvSpPr>
          <p:spPr bwMode="auto">
            <a:xfrm>
              <a:off x="2977" y="1875"/>
              <a:ext cx="706" cy="135"/>
            </a:xfrm>
            <a:prstGeom prst="rect">
              <a:avLst/>
            </a:prstGeom>
            <a:solidFill>
              <a:srgbClr val="7025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Rectangle 90">
              <a:extLst>
                <a:ext uri="{FF2B5EF4-FFF2-40B4-BE49-F238E27FC236}">
                  <a16:creationId xmlns:a16="http://schemas.microsoft.com/office/drawing/2014/main" id="{FA8D36D1-67FD-B784-519E-C36BEA31B3C5}"/>
                </a:ext>
              </a:extLst>
            </p:cNvPr>
            <p:cNvSpPr>
              <a:spLocks noChangeArrowheads="1"/>
            </p:cNvSpPr>
            <p:nvPr/>
          </p:nvSpPr>
          <p:spPr bwMode="auto">
            <a:xfrm>
              <a:off x="2985" y="1869"/>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CD9BCF"/>
                  </a:solidFill>
                  <a:effectLst/>
                  <a:latin typeface="Segoe UI Black" panose="020B0A02040204020203" pitchFamily="34" charset="0"/>
                </a:rPr>
                <a:t>A</a:t>
              </a:r>
              <a:endParaRPr kumimoji="0" lang="en-US" altLang="en-US" sz="1800" b="0" i="0" u="none" strike="noStrike" cap="none" normalizeH="0" baseline="0">
                <a:ln>
                  <a:noFill/>
                </a:ln>
                <a:solidFill>
                  <a:srgbClr val="CD9BCF"/>
                </a:solidFill>
                <a:effectLst/>
                <a:latin typeface="Arial" panose="020B0604020202020204" pitchFamily="34" charset="0"/>
              </a:endParaRPr>
            </a:p>
          </p:txBody>
        </p:sp>
        <p:sp>
          <p:nvSpPr>
            <p:cNvPr id="312" name="Rectangle 91">
              <a:extLst>
                <a:ext uri="{FF2B5EF4-FFF2-40B4-BE49-F238E27FC236}">
                  <a16:creationId xmlns:a16="http://schemas.microsoft.com/office/drawing/2014/main" id="{A2790CC1-ECD3-C2AA-C63A-83B06BB562FD}"/>
                </a:ext>
              </a:extLst>
            </p:cNvPr>
            <p:cNvSpPr>
              <a:spLocks noChangeArrowheads="1"/>
            </p:cNvSpPr>
            <p:nvPr/>
          </p:nvSpPr>
          <p:spPr bwMode="auto">
            <a:xfrm>
              <a:off x="3051" y="1869"/>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3" name="Rectangle 92">
              <a:extLst>
                <a:ext uri="{FF2B5EF4-FFF2-40B4-BE49-F238E27FC236}">
                  <a16:creationId xmlns:a16="http://schemas.microsoft.com/office/drawing/2014/main" id="{C2F74C0D-75FA-B70A-ED71-3CFA807964B4}"/>
                </a:ext>
              </a:extLst>
            </p:cNvPr>
            <p:cNvSpPr>
              <a:spLocks noChangeArrowheads="1"/>
            </p:cNvSpPr>
            <p:nvPr/>
          </p:nvSpPr>
          <p:spPr bwMode="auto">
            <a:xfrm>
              <a:off x="2985" y="1946"/>
              <a:ext cx="13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0257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4" name="Rectangle 93">
              <a:extLst>
                <a:ext uri="{FF2B5EF4-FFF2-40B4-BE49-F238E27FC236}">
                  <a16:creationId xmlns:a16="http://schemas.microsoft.com/office/drawing/2014/main" id="{4B629030-A380-3E24-758E-F1D167C23086}"/>
                </a:ext>
              </a:extLst>
            </p:cNvPr>
            <p:cNvSpPr>
              <a:spLocks noChangeArrowheads="1"/>
            </p:cNvSpPr>
            <p:nvPr/>
          </p:nvSpPr>
          <p:spPr bwMode="auto">
            <a:xfrm>
              <a:off x="2977" y="1586"/>
              <a:ext cx="706" cy="135"/>
            </a:xfrm>
            <a:prstGeom prst="rect">
              <a:avLst/>
            </a:prstGeom>
            <a:solidFill>
              <a:srgbClr val="CD9B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Rectangle 94">
              <a:extLst>
                <a:ext uri="{FF2B5EF4-FFF2-40B4-BE49-F238E27FC236}">
                  <a16:creationId xmlns:a16="http://schemas.microsoft.com/office/drawing/2014/main" id="{6D81EE59-1E06-6AAB-A8EE-80D567AE752D}"/>
                </a:ext>
              </a:extLst>
            </p:cNvPr>
            <p:cNvSpPr>
              <a:spLocks noChangeArrowheads="1"/>
            </p:cNvSpPr>
            <p:nvPr/>
          </p:nvSpPr>
          <p:spPr bwMode="auto">
            <a:xfrm>
              <a:off x="2985" y="1580"/>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02573"/>
                  </a:solidFill>
                  <a:effectLst/>
                  <a:latin typeface="Segoe UI Black" panose="020B0A02040204020203" pitchFamily="34" charset="0"/>
                </a:rPr>
                <a:t>A</a:t>
              </a:r>
              <a:endParaRPr kumimoji="0" lang="en-US" altLang="en-US" sz="1800" b="0" i="0" u="none" strike="noStrike" cap="none" normalizeH="0" baseline="0">
                <a:ln>
                  <a:noFill/>
                </a:ln>
                <a:solidFill>
                  <a:srgbClr val="702573"/>
                </a:solidFill>
                <a:effectLst/>
                <a:latin typeface="Arial" panose="020B0604020202020204" pitchFamily="34" charset="0"/>
              </a:endParaRPr>
            </a:p>
          </p:txBody>
        </p:sp>
        <p:sp>
          <p:nvSpPr>
            <p:cNvPr id="316" name="Rectangle 95">
              <a:extLst>
                <a:ext uri="{FF2B5EF4-FFF2-40B4-BE49-F238E27FC236}">
                  <a16:creationId xmlns:a16="http://schemas.microsoft.com/office/drawing/2014/main" id="{6AD9F2DD-3CC6-E096-A24F-323DA0D326AD}"/>
                </a:ext>
              </a:extLst>
            </p:cNvPr>
            <p:cNvSpPr>
              <a:spLocks noChangeArrowheads="1"/>
            </p:cNvSpPr>
            <p:nvPr/>
          </p:nvSpPr>
          <p:spPr bwMode="auto">
            <a:xfrm>
              <a:off x="3051" y="1580"/>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7" name="Rectangle 96">
              <a:extLst>
                <a:ext uri="{FF2B5EF4-FFF2-40B4-BE49-F238E27FC236}">
                  <a16:creationId xmlns:a16="http://schemas.microsoft.com/office/drawing/2014/main" id="{AFB34C5D-AB21-1047-2C41-96AAFC6CF230}"/>
                </a:ext>
              </a:extLst>
            </p:cNvPr>
            <p:cNvSpPr>
              <a:spLocks noChangeArrowheads="1"/>
            </p:cNvSpPr>
            <p:nvPr/>
          </p:nvSpPr>
          <p:spPr bwMode="auto">
            <a:xfrm>
              <a:off x="2985" y="1658"/>
              <a:ext cx="14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CD9BC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8" name="Rectangle 97">
              <a:extLst>
                <a:ext uri="{FF2B5EF4-FFF2-40B4-BE49-F238E27FC236}">
                  <a16:creationId xmlns:a16="http://schemas.microsoft.com/office/drawing/2014/main" id="{577AD0A0-7F00-AA4F-1B1B-61CFE55F937D}"/>
                </a:ext>
              </a:extLst>
            </p:cNvPr>
            <p:cNvSpPr>
              <a:spLocks noChangeArrowheads="1"/>
            </p:cNvSpPr>
            <p:nvPr/>
          </p:nvSpPr>
          <p:spPr bwMode="auto">
            <a:xfrm>
              <a:off x="2976" y="2023"/>
              <a:ext cx="1428" cy="1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Rectangle 98">
              <a:extLst>
                <a:ext uri="{FF2B5EF4-FFF2-40B4-BE49-F238E27FC236}">
                  <a16:creationId xmlns:a16="http://schemas.microsoft.com/office/drawing/2014/main" id="{AEE8AF68-7485-0DA2-1E8F-EA9EFEEF18D2}"/>
                </a:ext>
              </a:extLst>
            </p:cNvPr>
            <p:cNvSpPr>
              <a:spLocks noChangeArrowheads="1"/>
            </p:cNvSpPr>
            <p:nvPr/>
          </p:nvSpPr>
          <p:spPr bwMode="auto">
            <a:xfrm>
              <a:off x="2977" y="2024"/>
              <a:ext cx="1427" cy="136"/>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 name="Rectangle 99">
              <a:extLst>
                <a:ext uri="{FF2B5EF4-FFF2-40B4-BE49-F238E27FC236}">
                  <a16:creationId xmlns:a16="http://schemas.microsoft.com/office/drawing/2014/main" id="{00A4FA1A-2972-8EFD-C7DB-916888D02231}"/>
                </a:ext>
              </a:extLst>
            </p:cNvPr>
            <p:cNvSpPr>
              <a:spLocks noChangeArrowheads="1"/>
            </p:cNvSpPr>
            <p:nvPr/>
          </p:nvSpPr>
          <p:spPr bwMode="auto">
            <a:xfrm>
              <a:off x="2985" y="2028"/>
              <a:ext cx="13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chemeClr val="bg1"/>
                  </a:solidFill>
                  <a:effectLst/>
                  <a:latin typeface="Segoe UI" panose="020B0502040204020203" pitchFamily="34" charset="0"/>
                </a:rPr>
                <a:t>000000</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321" name="Rectangle 100">
              <a:extLst>
                <a:ext uri="{FF2B5EF4-FFF2-40B4-BE49-F238E27FC236}">
                  <a16:creationId xmlns:a16="http://schemas.microsoft.com/office/drawing/2014/main" id="{E02AE344-8FCD-07A4-1035-21E5745797EA}"/>
                </a:ext>
              </a:extLst>
            </p:cNvPr>
            <p:cNvSpPr>
              <a:spLocks noChangeArrowheads="1"/>
            </p:cNvSpPr>
            <p:nvPr/>
          </p:nvSpPr>
          <p:spPr bwMode="auto">
            <a:xfrm>
              <a:off x="1532" y="1439"/>
              <a:ext cx="1430" cy="136"/>
            </a:xfrm>
            <a:prstGeom prst="rect">
              <a:avLst/>
            </a:prstGeom>
            <a:solidFill>
              <a:srgbClr val="E8E6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Rectangle 101">
              <a:extLst>
                <a:ext uri="{FF2B5EF4-FFF2-40B4-BE49-F238E27FC236}">
                  <a16:creationId xmlns:a16="http://schemas.microsoft.com/office/drawing/2014/main" id="{A8F0A57D-3D77-F52A-CEE5-C300AC719E97}"/>
                </a:ext>
              </a:extLst>
            </p:cNvPr>
            <p:cNvSpPr>
              <a:spLocks noChangeArrowheads="1"/>
            </p:cNvSpPr>
            <p:nvPr/>
          </p:nvSpPr>
          <p:spPr bwMode="auto">
            <a:xfrm>
              <a:off x="1532" y="1439"/>
              <a:ext cx="1429" cy="136"/>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 name="Rectangle 102">
              <a:extLst>
                <a:ext uri="{FF2B5EF4-FFF2-40B4-BE49-F238E27FC236}">
                  <a16:creationId xmlns:a16="http://schemas.microsoft.com/office/drawing/2014/main" id="{34755F26-EC65-BC3C-F00F-5952873E93B5}"/>
                </a:ext>
              </a:extLst>
            </p:cNvPr>
            <p:cNvSpPr>
              <a:spLocks noChangeArrowheads="1"/>
            </p:cNvSpPr>
            <p:nvPr/>
          </p:nvSpPr>
          <p:spPr bwMode="auto">
            <a:xfrm>
              <a:off x="1541" y="1435"/>
              <a:ext cx="38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1A1A1A"/>
                  </a:solidFill>
                  <a:effectLst/>
                  <a:latin typeface="Segoe UI" panose="020B0502040204020203" pitchFamily="34" charset="0"/>
                </a:rPr>
                <a:t>Neutral Gra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4" name="Rectangle 103">
              <a:extLst>
                <a:ext uri="{FF2B5EF4-FFF2-40B4-BE49-F238E27FC236}">
                  <a16:creationId xmlns:a16="http://schemas.microsoft.com/office/drawing/2014/main" id="{B81AAAC1-86AE-E75F-941C-AB9A2CF58E0B}"/>
                </a:ext>
              </a:extLst>
            </p:cNvPr>
            <p:cNvSpPr>
              <a:spLocks noChangeArrowheads="1"/>
            </p:cNvSpPr>
            <p:nvPr/>
          </p:nvSpPr>
          <p:spPr bwMode="auto">
            <a:xfrm>
              <a:off x="1541" y="1502"/>
              <a:ext cx="13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E8E6D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5" name="Rectangle 14">
              <a:extLst>
                <a:ext uri="{FF2B5EF4-FFF2-40B4-BE49-F238E27FC236}">
                  <a16:creationId xmlns:a16="http://schemas.microsoft.com/office/drawing/2014/main" id="{EB0437A5-6694-879B-F94E-9FA34DFD9D2C}"/>
                </a:ext>
              </a:extLst>
            </p:cNvPr>
            <p:cNvSpPr>
              <a:spLocks noChangeArrowheads="1"/>
            </p:cNvSpPr>
            <p:nvPr/>
          </p:nvSpPr>
          <p:spPr bwMode="auto">
            <a:xfrm>
              <a:off x="2329" y="1724"/>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6" name="Rectangle 95">
              <a:extLst>
                <a:ext uri="{FF2B5EF4-FFF2-40B4-BE49-F238E27FC236}">
                  <a16:creationId xmlns:a16="http://schemas.microsoft.com/office/drawing/2014/main" id="{7CF198F9-1D72-F8CC-3A2E-9B2DAE529DAF}"/>
                </a:ext>
              </a:extLst>
            </p:cNvPr>
            <p:cNvSpPr>
              <a:spLocks noChangeArrowheads="1"/>
            </p:cNvSpPr>
            <p:nvPr/>
          </p:nvSpPr>
          <p:spPr bwMode="auto">
            <a:xfrm>
              <a:off x="3051" y="1723"/>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2754060779"/>
      </p:ext>
    </p:extLst>
  </p:cSld>
  <p:clrMap bg1="lt1" tx1="dk1" bg2="lt2" tx2="dk2" accent1="accent1" accent2="accent2" accent3="accent3" accent4="accent4" accent5="accent5" accent6="accent6" hlink="hlink" folHlink="folHlink"/>
  <p:sldLayoutIdLst>
    <p:sldLayoutId id="2147486195" r:id="rId1"/>
    <p:sldLayoutId id="2147486196" r:id="rId2"/>
    <p:sldLayoutId id="2147486197" r:id="rId3"/>
    <p:sldLayoutId id="2147486198" r:id="rId4"/>
    <p:sldLayoutId id="2147486199" r:id="rId5"/>
    <p:sldLayoutId id="2147486200" r:id="rId6"/>
    <p:sldLayoutId id="2147486201" r:id="rId7"/>
    <p:sldLayoutId id="2147486202" r:id="rId8"/>
    <p:sldLayoutId id="2147486203" r:id="rId9"/>
    <p:sldLayoutId id="2147486204" r:id="rId10"/>
    <p:sldLayoutId id="2147486205" r:id="rId11"/>
    <p:sldLayoutId id="2147486206" r:id="rId12"/>
    <p:sldLayoutId id="2147486207" r:id="rId13"/>
    <p:sldLayoutId id="2147486208" r:id="rId14"/>
    <p:sldLayoutId id="2147486209" r:id="rId1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blackWhite">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3E22E0B-5790-49CB-B156-CA761F56B28B}"/>
              </a:ext>
            </a:extLst>
          </p:cNvPr>
          <p:cNvGraphicFramePr>
            <a:graphicFrameLocks noChangeAspect="1"/>
          </p:cNvGraphicFramePr>
          <p:nvPr userDrawn="1">
            <p:custDataLst>
              <p:tags r:id="rId23"/>
            </p:custDataLst>
            <p:extLst>
              <p:ext uri="{D42A27DB-BD31-4B8C-83A1-F6EECF244321}">
                <p14:modId xmlns:p14="http://schemas.microsoft.com/office/powerpoint/2010/main" val="3968480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25" imgH="424" progId="TCLayout.ActiveDocument.1">
                  <p:embed/>
                </p:oleObj>
              </mc:Choice>
              <mc:Fallback>
                <p:oleObj name="think-cell Slide" r:id="rId24" imgW="425" imgH="424" progId="TCLayout.ActiveDocument.1">
                  <p:embed/>
                  <p:pic>
                    <p:nvPicPr>
                      <p:cNvPr id="6" name="think-cell data - do not delete" hidden="1">
                        <a:extLst>
                          <a:ext uri="{FF2B5EF4-FFF2-40B4-BE49-F238E27FC236}">
                            <a16:creationId xmlns:a16="http://schemas.microsoft.com/office/drawing/2014/main" id="{F3E22E0B-5790-49CB-B156-CA761F56B28B}"/>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Sans Text Semibold" pitchFamily="2" charset="0"/>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Sans Text Semibold" pitchFamily="2" charset="0"/>
              <a:ea typeface="Segoe UI" pitchFamily="34" charset="0"/>
              <a:cs typeface="Segoe Sans Text" pitchFamily="2" charset="0"/>
            </a:endParaRP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Sans Text Semibold" pitchFamily="2" charset="0"/>
              <a:ea typeface="Segoe UI" pitchFamily="34" charset="0"/>
              <a:cs typeface="Segoe Sans Text" pitchFamily="2"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Sans Text Semibold" pitchFamily="2" charset="0"/>
              <a:ea typeface="Segoe UI" pitchFamily="34" charset="0"/>
              <a:cs typeface="Segoe Sans Text" pitchFamily="2" charset="0"/>
            </a:endParaRPr>
          </a:p>
        </p:txBody>
      </p:sp>
      <p:sp>
        <p:nvSpPr>
          <p:cNvPr id="4" name="Title Placeholder 1">
            <a:extLst>
              <a:ext uri="{FF2B5EF4-FFF2-40B4-BE49-F238E27FC236}">
                <a16:creationId xmlns:a16="http://schemas.microsoft.com/office/drawing/2014/main" id="{3295D3A1-00A6-D99E-15A2-92855736B23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8" name="Text Placeholder 3">
            <a:extLst>
              <a:ext uri="{FF2B5EF4-FFF2-40B4-BE49-F238E27FC236}">
                <a16:creationId xmlns:a16="http://schemas.microsoft.com/office/drawing/2014/main" id="{D677C90C-3821-B4AC-7284-D2605330FC4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0407681"/>
      </p:ext>
    </p:extLst>
  </p:cSld>
  <p:clrMap bg1="lt1" tx1="dk1" bg2="lt2" tx2="dk2" accent1="accent1" accent2="accent2" accent3="accent3" accent4="accent4" accent5="accent5" accent6="accent6" hlink="hlink" folHlink="folHlink"/>
  <p:sldLayoutIdLst>
    <p:sldLayoutId id="2147486354" r:id="rId1"/>
    <p:sldLayoutId id="2147486355" r:id="rId2"/>
    <p:sldLayoutId id="2147486356" r:id="rId3"/>
    <p:sldLayoutId id="2147486357" r:id="rId4"/>
    <p:sldLayoutId id="2147486358" r:id="rId5"/>
    <p:sldLayoutId id="2147486359" r:id="rId6"/>
    <p:sldLayoutId id="2147486360" r:id="rId7"/>
    <p:sldLayoutId id="2147486361" r:id="rId8"/>
    <p:sldLayoutId id="2147486362" r:id="rId9"/>
    <p:sldLayoutId id="2147486363" r:id="rId10"/>
    <p:sldLayoutId id="2147486364" r:id="rId11"/>
    <p:sldLayoutId id="2147486365" r:id="rId12"/>
    <p:sldLayoutId id="2147486366" r:id="rId13"/>
    <p:sldLayoutId id="2147486367" r:id="rId14"/>
    <p:sldLayoutId id="2147486368" r:id="rId15"/>
    <p:sldLayoutId id="2147486401" r:id="rId16"/>
    <p:sldLayoutId id="2147486417" r:id="rId17"/>
    <p:sldLayoutId id="2147486418" r:id="rId18"/>
    <p:sldLayoutId id="2147486419" r:id="rId19"/>
    <p:sldLayoutId id="2147486420" r:id="rId20"/>
    <p:sldLayoutId id="2147486421" r:id="rId21"/>
  </p:sldLayoutIdLst>
  <p:transition>
    <p:fade/>
  </p:transition>
  <p:hf hdr="0" dt="0"/>
  <p:txStyles>
    <p:title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mn-lt"/>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learn.microsoft.com/en-us/microsoft-365-app-certification/overview" TargetMode="External"/><Relationship Id="rId2" Type="http://schemas.openxmlformats.org/officeDocument/2006/relationships/notesSlide" Target="../notesSlides/notesSlide10.xml"/><Relationship Id="rId1" Type="http://schemas.openxmlformats.org/officeDocument/2006/relationships/slideLayout" Target="../slideLayouts/slideLayout240.xml"/><Relationship Id="rId4" Type="http://schemas.openxmlformats.org/officeDocument/2006/relationships/image" Target="../media/image11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1.xml"/></Relationships>
</file>

<file path=ppt/slides/_rels/slide12.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9.png"/><Relationship Id="rId7" Type="http://schemas.openxmlformats.org/officeDocument/2006/relationships/image" Target="../media/image121.png"/><Relationship Id="rId12" Type="http://schemas.openxmlformats.org/officeDocument/2006/relationships/image" Target="../media/image126.png"/><Relationship Id="rId2" Type="http://schemas.openxmlformats.org/officeDocument/2006/relationships/notesSlide" Target="../notesSlides/notesSlide12.xml"/><Relationship Id="rId1" Type="http://schemas.openxmlformats.org/officeDocument/2006/relationships/slideLayout" Target="../slideLayouts/slideLayout242.xml"/><Relationship Id="rId6" Type="http://schemas.microsoft.com/office/2007/relationships/hdphoto" Target="../media/hdphoto6.wdp"/><Relationship Id="rId11" Type="http://schemas.openxmlformats.org/officeDocument/2006/relationships/image" Target="../media/image125.png"/><Relationship Id="rId5" Type="http://schemas.openxmlformats.org/officeDocument/2006/relationships/image" Target="../media/image120.png"/><Relationship Id="rId10" Type="http://schemas.openxmlformats.org/officeDocument/2006/relationships/image" Target="../media/image124.png"/><Relationship Id="rId4" Type="http://schemas.microsoft.com/office/2007/relationships/hdphoto" Target="../media/hdphoto5.wdp"/><Relationship Id="rId9" Type="http://schemas.openxmlformats.org/officeDocument/2006/relationships/image" Target="../media/image123.png"/></Relationships>
</file>

<file path=ppt/slides/_rels/slide13.xml.rels><?xml version="1.0" encoding="UTF-8" standalone="yes"?>
<Relationships xmlns="http://schemas.openxmlformats.org/package/2006/relationships"><Relationship Id="rId8" Type="http://schemas.openxmlformats.org/officeDocument/2006/relationships/hyperlink" Target="https://adoption.microsoft.com/en-us/copilot/frontier-program/" TargetMode="External"/><Relationship Id="rId13" Type="http://schemas.openxmlformats.org/officeDocument/2006/relationships/hyperlink" Target="https://techcommunity.microsoft.com/blog/spblog/introducing-knowledge-agent-in-sharepoint/4454154" TargetMode="External"/><Relationship Id="rId18" Type="http://schemas.openxmlformats.org/officeDocument/2006/relationships/image" Target="../media/image134.png"/><Relationship Id="rId3" Type="http://schemas.openxmlformats.org/officeDocument/2006/relationships/hyperlink" Target="https://techcommunity.microsoft.com/blog/microsoft365insiderblog/introducing-channel-agent-in-teams/4455451" TargetMode="External"/><Relationship Id="rId21" Type="http://schemas.openxmlformats.org/officeDocument/2006/relationships/image" Target="../media/image136.png"/><Relationship Id="rId7" Type="http://schemas.openxmlformats.org/officeDocument/2006/relationships/image" Target="../media/image129.png"/><Relationship Id="rId12" Type="http://schemas.openxmlformats.org/officeDocument/2006/relationships/hyperlink" Target="https://techcommunity.microsoft.com/blog/plannerblog/unleashing-the-power-of-agents-in-microsoft-planner/4304794" TargetMode="External"/><Relationship Id="rId17" Type="http://schemas.openxmlformats.org/officeDocument/2006/relationships/hyperlink" Target="https://techcommunity.microsoft.com/blog/viva_engage_blog/introducing-agents-in-viva-engage-communities-your-ai-powered-community-expert/4454146" TargetMode="External"/><Relationship Id="rId2" Type="http://schemas.openxmlformats.org/officeDocument/2006/relationships/notesSlide" Target="../notesSlides/notesSlide13.xml"/><Relationship Id="rId16" Type="http://schemas.openxmlformats.org/officeDocument/2006/relationships/image" Target="../media/image133.png"/><Relationship Id="rId20" Type="http://schemas.openxmlformats.org/officeDocument/2006/relationships/image" Target="../media/image135.png"/><Relationship Id="rId1" Type="http://schemas.openxmlformats.org/officeDocument/2006/relationships/slideLayout" Target="../slideLayouts/slideLayout242.xml"/><Relationship Id="rId6" Type="http://schemas.openxmlformats.org/officeDocument/2006/relationships/hyperlink" Target="https://techcommunity.microsoft.com/blog/microsoft365copilotblog/analyst-agent-in-microsoft-365-copilot/4397191" TargetMode="External"/><Relationship Id="rId11" Type="http://schemas.openxmlformats.org/officeDocument/2006/relationships/image" Target="../media/image131.png"/><Relationship Id="rId5" Type="http://schemas.openxmlformats.org/officeDocument/2006/relationships/image" Target="../media/image128.png"/><Relationship Id="rId15" Type="http://schemas.openxmlformats.org/officeDocument/2006/relationships/hyperlink" Target="https://techcommunity.microsoft.com/blog/microsoft365copilotblog/researcher-agent-in-microsoft-365-copilot/4397186" TargetMode="External"/><Relationship Id="rId10" Type="http://schemas.openxmlformats.org/officeDocument/2006/relationships/image" Target="../media/image130.png"/><Relationship Id="rId19" Type="http://schemas.openxmlformats.org/officeDocument/2006/relationships/hyperlink" Target="https://techcommunity.microsoft.com/blog/microsoft365copilotblog/introducing-new-agents-in-microsoft-365/4296918" TargetMode="External"/><Relationship Id="rId4" Type="http://schemas.openxmlformats.org/officeDocument/2006/relationships/image" Target="../media/image127.png"/><Relationship Id="rId9" Type="http://schemas.openxmlformats.org/officeDocument/2006/relationships/hyperlink" Target="https://techcommunity.microsoft.com/blog/microsoftformsblog/shipped-surveys-agent-now-live-for-customers-in-microsoft-365-copilot-frontier-p/4444421" TargetMode="External"/><Relationship Id="rId14" Type="http://schemas.openxmlformats.org/officeDocument/2006/relationships/image" Target="../media/image132.png"/><Relationship Id="rId22" Type="http://schemas.openxmlformats.org/officeDocument/2006/relationships/image" Target="../media/image137.png"/></Relationships>
</file>

<file path=ppt/slides/_rels/slide14.xml.rels><?xml version="1.0" encoding="UTF-8" standalone="yes"?>
<Relationships xmlns="http://schemas.openxmlformats.org/package/2006/relationships"><Relationship Id="rId13" Type="http://schemas.openxmlformats.org/officeDocument/2006/relationships/image" Target="../media/image148.png"/><Relationship Id="rId18" Type="http://schemas.openxmlformats.org/officeDocument/2006/relationships/image" Target="../media/image153.png"/><Relationship Id="rId26" Type="http://schemas.openxmlformats.org/officeDocument/2006/relationships/image" Target="../media/image161.jpeg"/><Relationship Id="rId21" Type="http://schemas.openxmlformats.org/officeDocument/2006/relationships/image" Target="../media/image156.jpeg"/><Relationship Id="rId34" Type="http://schemas.openxmlformats.org/officeDocument/2006/relationships/image" Target="../media/image169.png"/><Relationship Id="rId7" Type="http://schemas.openxmlformats.org/officeDocument/2006/relationships/image" Target="../media/image142.jpeg"/><Relationship Id="rId12" Type="http://schemas.openxmlformats.org/officeDocument/2006/relationships/image" Target="../media/image147.png"/><Relationship Id="rId17" Type="http://schemas.openxmlformats.org/officeDocument/2006/relationships/image" Target="../media/image152.png"/><Relationship Id="rId25" Type="http://schemas.openxmlformats.org/officeDocument/2006/relationships/image" Target="../media/image160.png"/><Relationship Id="rId33" Type="http://schemas.openxmlformats.org/officeDocument/2006/relationships/image" Target="../media/image168.png"/><Relationship Id="rId2" Type="http://schemas.openxmlformats.org/officeDocument/2006/relationships/notesSlide" Target="../notesSlides/notesSlide14.xml"/><Relationship Id="rId16" Type="http://schemas.openxmlformats.org/officeDocument/2006/relationships/image" Target="../media/image151.png"/><Relationship Id="rId20" Type="http://schemas.openxmlformats.org/officeDocument/2006/relationships/image" Target="../media/image155.jpeg"/><Relationship Id="rId29" Type="http://schemas.openxmlformats.org/officeDocument/2006/relationships/image" Target="../media/image164.png"/><Relationship Id="rId1" Type="http://schemas.openxmlformats.org/officeDocument/2006/relationships/slideLayout" Target="../slideLayouts/slideLayout243.xml"/><Relationship Id="rId6" Type="http://schemas.openxmlformats.org/officeDocument/2006/relationships/image" Target="../media/image141.jpeg"/><Relationship Id="rId11" Type="http://schemas.openxmlformats.org/officeDocument/2006/relationships/image" Target="../media/image146.png"/><Relationship Id="rId24" Type="http://schemas.openxmlformats.org/officeDocument/2006/relationships/image" Target="../media/image159.png"/><Relationship Id="rId32" Type="http://schemas.openxmlformats.org/officeDocument/2006/relationships/image" Target="../media/image167.png"/><Relationship Id="rId37" Type="http://schemas.openxmlformats.org/officeDocument/2006/relationships/image" Target="../media/image172.png"/><Relationship Id="rId5" Type="http://schemas.openxmlformats.org/officeDocument/2006/relationships/image" Target="../media/image140.jpeg"/><Relationship Id="rId15" Type="http://schemas.openxmlformats.org/officeDocument/2006/relationships/image" Target="../media/image150.png"/><Relationship Id="rId23" Type="http://schemas.openxmlformats.org/officeDocument/2006/relationships/image" Target="../media/image158.png"/><Relationship Id="rId28" Type="http://schemas.openxmlformats.org/officeDocument/2006/relationships/image" Target="../media/image163.png"/><Relationship Id="rId36" Type="http://schemas.openxmlformats.org/officeDocument/2006/relationships/image" Target="../media/image171.png"/><Relationship Id="rId10" Type="http://schemas.openxmlformats.org/officeDocument/2006/relationships/image" Target="../media/image145.png"/><Relationship Id="rId19" Type="http://schemas.openxmlformats.org/officeDocument/2006/relationships/image" Target="../media/image154.png"/><Relationship Id="rId31" Type="http://schemas.openxmlformats.org/officeDocument/2006/relationships/image" Target="../media/image166.png"/><Relationship Id="rId4" Type="http://schemas.openxmlformats.org/officeDocument/2006/relationships/image" Target="../media/image139.jpeg"/><Relationship Id="rId9" Type="http://schemas.openxmlformats.org/officeDocument/2006/relationships/image" Target="../media/image144.jpeg"/><Relationship Id="rId14" Type="http://schemas.openxmlformats.org/officeDocument/2006/relationships/image" Target="../media/image149.svg"/><Relationship Id="rId22" Type="http://schemas.openxmlformats.org/officeDocument/2006/relationships/image" Target="../media/image157.png"/><Relationship Id="rId27" Type="http://schemas.openxmlformats.org/officeDocument/2006/relationships/image" Target="../media/image162.png"/><Relationship Id="rId30" Type="http://schemas.openxmlformats.org/officeDocument/2006/relationships/image" Target="../media/image165.png"/><Relationship Id="rId35" Type="http://schemas.openxmlformats.org/officeDocument/2006/relationships/image" Target="../media/image170.png"/><Relationship Id="rId8" Type="http://schemas.openxmlformats.org/officeDocument/2006/relationships/image" Target="../media/image143.png"/><Relationship Id="rId3" Type="http://schemas.openxmlformats.org/officeDocument/2006/relationships/image" Target="../media/image138.jpeg"/></Relationships>
</file>

<file path=ppt/slides/_rels/slide15.xml.rels><?xml version="1.0" encoding="UTF-8" standalone="yes"?>
<Relationships xmlns="http://schemas.openxmlformats.org/package/2006/relationships"><Relationship Id="rId8" Type="http://schemas.openxmlformats.org/officeDocument/2006/relationships/hyperlink" Target="https://aka.ms/agent-academy" TargetMode="External"/><Relationship Id="rId13" Type="http://schemas.openxmlformats.org/officeDocument/2006/relationships/image" Target="../media/image175.png"/><Relationship Id="rId3" Type="http://schemas.openxmlformats.org/officeDocument/2006/relationships/hyperlink" Target="https://adoption.microsoft.com/en-us/customer-hub/copilot-and-agents-spotlight/" TargetMode="External"/><Relationship Id="rId7" Type="http://schemas.openxmlformats.org/officeDocument/2006/relationships/hyperlink" Target="https://aka.ms/nextAgIAD" TargetMode="External"/><Relationship Id="rId12" Type="http://schemas.openxmlformats.org/officeDocument/2006/relationships/image" Target="../media/image174.png"/><Relationship Id="rId2" Type="http://schemas.openxmlformats.org/officeDocument/2006/relationships/notesSlide" Target="../notesSlides/notesSlide15.xml"/><Relationship Id="rId16" Type="http://schemas.openxmlformats.org/officeDocument/2006/relationships/image" Target="../media/image176.png"/><Relationship Id="rId1" Type="http://schemas.openxmlformats.org/officeDocument/2006/relationships/slideLayout" Target="../slideLayouts/slideLayout239.xml"/><Relationship Id="rId6" Type="http://schemas.openxmlformats.org/officeDocument/2006/relationships/hyperlink" Target="https://aka.ms/PowerCATAIWebinars" TargetMode="External"/><Relationship Id="rId11" Type="http://schemas.openxmlformats.org/officeDocument/2006/relationships/image" Target="../media/image101.emf"/><Relationship Id="rId5" Type="http://schemas.openxmlformats.org/officeDocument/2006/relationships/hyperlink" Target="https://www.microsoft.com/en-us/events/category/microsoft-365-copilot-training?q=Get+Started+with+Microsoft+365+Copilot+and+Agents&amp;scenario=copilot&amp;page=2" TargetMode="External"/><Relationship Id="rId15" Type="http://schemas.openxmlformats.org/officeDocument/2006/relationships/hyperlink" Target="https://aka.ms/Agent/SuccessKit" TargetMode="External"/><Relationship Id="rId10" Type="http://schemas.openxmlformats.org/officeDocument/2006/relationships/image" Target="../media/image173.png"/><Relationship Id="rId4" Type="http://schemas.openxmlformats.org/officeDocument/2006/relationships/hyperlink" Target="https://aka.ms/AgentBuildAThons/" TargetMode="External"/><Relationship Id="rId9" Type="http://schemas.openxmlformats.org/officeDocument/2006/relationships/hyperlink" Target="../aka.ms/agent-academy" TargetMode="External"/><Relationship Id="rId14" Type="http://schemas.openxmlformats.org/officeDocument/2006/relationships/hyperlink" Target="https://adoption.microsoft.com/ai-agents/copilot-studio/"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notesSlide" Target="../notesSlides/notesSlide16.xml"/><Relationship Id="rId1" Type="http://schemas.openxmlformats.org/officeDocument/2006/relationships/slideLayout" Target="../slideLayouts/slideLayout23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44.xml"/><Relationship Id="rId1" Type="http://schemas.openxmlformats.org/officeDocument/2006/relationships/tags" Target="../tags/tag10.xml"/></Relationships>
</file>

<file path=ppt/slides/_rels/slide19.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9.xml"/><Relationship Id="rId1" Type="http://schemas.openxmlformats.org/officeDocument/2006/relationships/slideLayout" Target="../slideLayouts/slideLayout24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20.xml"/><Relationship Id="rId1" Type="http://schemas.openxmlformats.org/officeDocument/2006/relationships/slideLayout" Target="../slideLayouts/slideLayout244.xml"/><Relationship Id="rId4" Type="http://schemas.openxmlformats.org/officeDocument/2006/relationships/image" Target="../media/image179.png"/></Relationships>
</file>

<file path=ppt/slides/_rels/slide21.xml.rels><?xml version="1.0" encoding="UTF-8" standalone="yes"?>
<Relationships xmlns="http://schemas.openxmlformats.org/package/2006/relationships"><Relationship Id="rId3" Type="http://schemas.openxmlformats.org/officeDocument/2006/relationships/image" Target="../media/image180.gif"/><Relationship Id="rId2" Type="http://schemas.openxmlformats.org/officeDocument/2006/relationships/notesSlide" Target="../notesSlides/notesSlide21.xml"/><Relationship Id="rId1" Type="http://schemas.openxmlformats.org/officeDocument/2006/relationships/slideLayout" Target="../slideLayouts/slideLayout244.xml"/></Relationships>
</file>

<file path=ppt/slides/_rels/slide22.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22.xml"/><Relationship Id="rId1" Type="http://schemas.openxmlformats.org/officeDocument/2006/relationships/slideLayout" Target="../slideLayouts/slideLayout24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1.xml"/></Relationships>
</file>

<file path=ppt/slides/_rels/slide24.xml.rels><?xml version="1.0" encoding="UTF-8" standalone="yes"?>
<Relationships xmlns="http://schemas.openxmlformats.org/package/2006/relationships"><Relationship Id="rId8" Type="http://schemas.openxmlformats.org/officeDocument/2006/relationships/hyperlink" Target="https://adoption.microsoft.com/ai-agents/success-kit/" TargetMode="External"/><Relationship Id="rId13" Type="http://schemas.microsoft.com/office/2007/relationships/hdphoto" Target="../media/hdphoto7.wdp"/><Relationship Id="rId3" Type="http://schemas.openxmlformats.org/officeDocument/2006/relationships/image" Target="../media/image182.png"/><Relationship Id="rId7" Type="http://schemas.openxmlformats.org/officeDocument/2006/relationships/hyperlink" Target="https://adoption.microsoft.com/ai-agents/agents-in-microsoft-365/" TargetMode="External"/><Relationship Id="rId12" Type="http://schemas.openxmlformats.org/officeDocument/2006/relationships/image" Target="../media/image185.png"/><Relationship Id="rId2" Type="http://schemas.openxmlformats.org/officeDocument/2006/relationships/notesSlide" Target="../notesSlides/notesSlide24.xml"/><Relationship Id="rId1" Type="http://schemas.openxmlformats.org/officeDocument/2006/relationships/slideLayout" Target="../slideLayouts/slideLayout206.xml"/><Relationship Id="rId6" Type="http://schemas.openxmlformats.org/officeDocument/2006/relationships/hyperlink" Target="https://adoption.microsoft.com/ai-agents/copilot-studio/" TargetMode="External"/><Relationship Id="rId11" Type="http://schemas.openxmlformats.org/officeDocument/2006/relationships/image" Target="../media/image184.png"/><Relationship Id="rId5" Type="http://schemas.openxmlformats.org/officeDocument/2006/relationships/hyperlink" Target="https://adoption.microsoft.com/copilot" TargetMode="External"/><Relationship Id="rId10" Type="http://schemas.openxmlformats.org/officeDocument/2006/relationships/image" Target="../media/image183.png"/><Relationship Id="rId4" Type="http://schemas.openxmlformats.org/officeDocument/2006/relationships/hyperlink" Target="https://adoption.microsoft.com/" TargetMode="External"/><Relationship Id="rId9" Type="http://schemas.openxmlformats.org/officeDocument/2006/relationships/hyperlink" Target="https://adoption.microsoft.com/scenario-library/"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hyperlink" Target="https://aka.ms/mcs/agentTemplates" TargetMode="External"/><Relationship Id="rId7" Type="http://schemas.openxmlformats.org/officeDocument/2006/relationships/image" Target="../media/image187.jpeg"/><Relationship Id="rId2" Type="http://schemas.openxmlformats.org/officeDocument/2006/relationships/notesSlide" Target="../notesSlides/notesSlide25.xml"/><Relationship Id="rId1" Type="http://schemas.openxmlformats.org/officeDocument/2006/relationships/slideLayout" Target="../slideLayouts/slideLayout207.xml"/><Relationship Id="rId6" Type="http://schemas.openxmlformats.org/officeDocument/2006/relationships/image" Target="../media/image186.png"/><Relationship Id="rId5" Type="http://schemas.openxmlformats.org/officeDocument/2006/relationships/hyperlink" Target="https://aka.ms/PowerCATAIWebinars" TargetMode="External"/><Relationship Id="rId4" Type="http://schemas.openxmlformats.org/officeDocument/2006/relationships/hyperlink" Target="https://aka.ms/PowerCAT/AiWebinars" TargetMode="External"/><Relationship Id="rId9" Type="http://schemas.openxmlformats.org/officeDocument/2006/relationships/image" Target="../media/image189.png"/></Relationships>
</file>

<file path=ppt/slides/_rels/slide26.xml.rels><?xml version="1.0" encoding="UTF-8" standalone="yes"?>
<Relationships xmlns="http://schemas.openxmlformats.org/package/2006/relationships"><Relationship Id="rId8" Type="http://schemas.openxmlformats.org/officeDocument/2006/relationships/hyperlink" Target="https://learn.microsoft.com/en-us/credentials/certifications/exams/ab-100/" TargetMode="External"/><Relationship Id="rId3" Type="http://schemas.openxmlformats.org/officeDocument/2006/relationships/image" Target="../media/image190.png"/><Relationship Id="rId7" Type="http://schemas.openxmlformats.org/officeDocument/2006/relationships/hyperlink" Target="https://learn.microsoft.com/en-us/credentials/certifications/copilot-and-agent-administration-fundamentals/?practice-assessment-type=certification" TargetMode="External"/><Relationship Id="rId2" Type="http://schemas.openxmlformats.org/officeDocument/2006/relationships/notesSlide" Target="../notesSlides/notesSlide26.xml"/><Relationship Id="rId1" Type="http://schemas.openxmlformats.org/officeDocument/2006/relationships/slideLayout" Target="../slideLayouts/slideLayout221.xml"/><Relationship Id="rId6" Type="http://schemas.openxmlformats.org/officeDocument/2006/relationships/hyperlink" Target="https://learn.microsoft.com/en-us/training/paths/build-plugins-connectors-microsoft-copilot-microsoft-365/" TargetMode="External"/><Relationship Id="rId5" Type="http://schemas.openxmlformats.org/officeDocument/2006/relationships/hyperlink" Target="https://learn.microsoft.com/en-us/training/paths/prepare-your-organization-microsoft-365-copilot/?wt.mc_id=esi_ai_content_wwl" TargetMode="External"/><Relationship Id="rId10" Type="http://schemas.openxmlformats.org/officeDocument/2006/relationships/hyperlink" Target="https://learn.microsoft.com/en-us/training/paths/enhance-autonomous-agents/" TargetMode="External"/><Relationship Id="rId4" Type="http://schemas.openxmlformats.org/officeDocument/2006/relationships/image" Target="../media/image191.png"/><Relationship Id="rId9" Type="http://schemas.openxmlformats.org/officeDocument/2006/relationships/hyperlink" Target="https://learn.microsoft.com/training/paths/create-extend-custom-copilots-microsoft-copilot-studio/"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image" Target="../media/image192.png"/><Relationship Id="rId7" Type="http://schemas.openxmlformats.org/officeDocument/2006/relationships/hyperlink" Target="https://aka.ms/CustomerHubSessions" TargetMode="External"/><Relationship Id="rId2" Type="http://schemas.openxmlformats.org/officeDocument/2006/relationships/notesSlide" Target="../notesSlides/notesSlide28.xml"/><Relationship Id="rId1" Type="http://schemas.openxmlformats.org/officeDocument/2006/relationships/slideLayout" Target="../slideLayouts/slideLayout26.xml"/><Relationship Id="rId6" Type="http://schemas.microsoft.com/office/2007/relationships/hdphoto" Target="../media/hdphoto2.wdp"/><Relationship Id="rId5" Type="http://schemas.openxmlformats.org/officeDocument/2006/relationships/image" Target="../media/image16.png"/><Relationship Id="rId4" Type="http://schemas.openxmlformats.org/officeDocument/2006/relationships/image" Target="../media/image5.svg"/></Relationships>
</file>

<file path=ppt/slides/_rels/slide2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9.xml"/><Relationship Id="rId1" Type="http://schemas.openxmlformats.org/officeDocument/2006/relationships/slideLayout" Target="../slideLayouts/slideLayout21.xml"/><Relationship Id="rId6" Type="http://schemas.openxmlformats.org/officeDocument/2006/relationships/hyperlink" Target="https://aka.ms/unified" TargetMode="External"/><Relationship Id="rId5" Type="http://schemas.openxmlformats.org/officeDocument/2006/relationships/hyperlink" Target="https://aka.ms/AMC/FASTTRACK" TargetMode="External"/><Relationship Id="rId4" Type="http://schemas.openxmlformats.org/officeDocument/2006/relationships/hyperlink" Target="https://cloudpartners.transform.microsoft.com/copilot-directory"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31.xml"/><Relationship Id="rId1" Type="http://schemas.openxmlformats.org/officeDocument/2006/relationships/slideLayout" Target="../slideLayouts/slideLayout22.xml"/><Relationship Id="rId6" Type="http://schemas.microsoft.com/office/2007/relationships/hdphoto" Target="../media/hdphoto2.wdp"/><Relationship Id="rId5" Type="http://schemas.openxmlformats.org/officeDocument/2006/relationships/image" Target="../media/image16.png"/><Relationship Id="rId4" Type="http://schemas.openxmlformats.org/officeDocument/2006/relationships/hyperlink" Target="https://aka.ms/CustomerHubSurvey" TargetMode="Externa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3" Type="http://schemas.openxmlformats.org/officeDocument/2006/relationships/image" Target="../media/image108.svg"/><Relationship Id="rId2" Type="http://schemas.openxmlformats.org/officeDocument/2006/relationships/notesSlide" Target="../notesSlides/notesSlide4.xml"/><Relationship Id="rId1" Type="http://schemas.openxmlformats.org/officeDocument/2006/relationships/slideLayout" Target="../slideLayouts/slideLayout27.xml"/><Relationship Id="rId4" Type="http://schemas.openxmlformats.org/officeDocument/2006/relationships/image" Target="../media/image109.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svg"/><Relationship Id="rId7" Type="http://schemas.openxmlformats.org/officeDocument/2006/relationships/image" Target="../media/image114.png"/><Relationship Id="rId2" Type="http://schemas.openxmlformats.org/officeDocument/2006/relationships/notesSlide" Target="../notesSlides/notesSlide8.xml"/><Relationship Id="rId1" Type="http://schemas.openxmlformats.org/officeDocument/2006/relationships/slideLayout" Target="../slideLayouts/slideLayout42.xml"/><Relationship Id="rId6" Type="http://schemas.openxmlformats.org/officeDocument/2006/relationships/image" Target="../media/image113.png"/><Relationship Id="rId5" Type="http://schemas.openxmlformats.org/officeDocument/2006/relationships/image" Target="../media/image112.svg"/><Relationship Id="rId4" Type="http://schemas.openxmlformats.org/officeDocument/2006/relationships/image" Target="../media/image111.svg"/><Relationship Id="rId9" Type="http://schemas.openxmlformats.org/officeDocument/2006/relationships/image" Target="../media/image116.png"/></Relationships>
</file>

<file path=ppt/slides/_rels/slide9.xml.rels><?xml version="1.0" encoding="UTF-8" standalone="yes"?>
<Relationships xmlns="http://schemas.openxmlformats.org/package/2006/relationships"><Relationship Id="rId3" Type="http://schemas.openxmlformats.org/officeDocument/2006/relationships/image" Target="../media/image117.svg"/><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DAB78B8C-EFEA-2E5D-EE39-A01559AB7FAC}"/>
              </a:ext>
            </a:extLst>
          </p:cNvPr>
          <p:cNvSpPr>
            <a:spLocks noGrp="1"/>
          </p:cNvSpPr>
          <p:nvPr>
            <p:ph type="title"/>
          </p:nvPr>
        </p:nvSpPr>
        <p:spPr>
          <a:xfrm>
            <a:off x="209824" y="2503307"/>
            <a:ext cx="7546011" cy="2585323"/>
          </a:xfrm>
          <a:prstGeom prst="rect">
            <a:avLst/>
          </a:prstGeom>
        </p:spPr>
        <p:txBody>
          <a:bodyPr wrap="square" lIns="0" tIns="45720" rIns="0" bIns="45720" anchor="t">
            <a:spAutoFit/>
          </a:bodyPr>
          <a:lstStyle/>
          <a:p>
            <a:pPr defTabSz="457200">
              <a:lnSpc>
                <a:spcPct val="90000"/>
              </a:lnSpc>
              <a:spcBef>
                <a:spcPts val="0"/>
              </a:spcBef>
              <a:defRPr/>
            </a:pPr>
            <a:r>
              <a:rPr lang="it-it" sz="4400" dirty="0">
                <a:ln>
                  <a:noFill/>
                </a:ln>
                <a:gradFill flip="none">
                  <a:gsLst>
                    <a:gs pos="0">
                      <a:srgbClr val="94D8FE"/>
                    </a:gs>
                    <a:gs pos="100000">
                      <a:srgbClr val="FFFFFF"/>
                    </a:gs>
                  </a:gsLst>
                  <a:lin ang="16200000" scaled="1"/>
                  <a:tileRect/>
                </a:gradFill>
                <a:latin typeface="Segoe Sans Display Semibold"/>
                <a:cs typeface="Segoe Sans Display Semibold"/>
              </a:rPr>
              <a:t>Benvenuti nella serie</a:t>
            </a:r>
            <a:r>
              <a:rPr lang="it-it" sz="4400" dirty="0">
                <a:gradFill flip="none">
                  <a:gsLst>
                    <a:gs pos="0">
                      <a:srgbClr val="94D8FE"/>
                    </a:gs>
                    <a:gs pos="100000">
                      <a:srgbClr val="FFFFFF"/>
                    </a:gs>
                  </a:gsLst>
                  <a:lin ang="16200000" scaled="1"/>
                  <a:tileRect/>
                </a:gradFill>
                <a:latin typeface="Segoe Sans Display Semibold"/>
                <a:cs typeface="Segoe Sans Display Semibold"/>
              </a:rPr>
              <a:t> </a:t>
            </a:r>
            <a:r>
              <a:rPr lang="it-it" sz="4400" dirty="0">
                <a:ln>
                  <a:noFill/>
                </a:ln>
                <a:gradFill flip="none">
                  <a:gsLst>
                    <a:gs pos="0">
                      <a:srgbClr val="94D8FE"/>
                    </a:gs>
                    <a:gs pos="100000">
                      <a:srgbClr val="FFFFFF"/>
                    </a:gs>
                  </a:gsLst>
                  <a:lin ang="16200000" scaled="1"/>
                  <a:tileRect/>
                </a:gradFill>
                <a:latin typeface="Segoe Sans Display Semibold"/>
                <a:cs typeface="Segoe Sans Display Semibold"/>
              </a:rPr>
              <a:t>Customer Hub </a:t>
            </a:r>
            <a:br>
              <a:rPr sz="4800" dirty="0"/>
            </a:br>
            <a:br>
              <a:rPr sz="4800" dirty="0"/>
            </a:br>
            <a:r>
              <a:rPr lang="it-it" sz="4400" dirty="0">
                <a:ln>
                  <a:noFill/>
                </a:ln>
                <a:gradFill flip="none">
                  <a:gsLst>
                    <a:gs pos="0">
                      <a:srgbClr val="94D8FE"/>
                    </a:gs>
                    <a:gs pos="100000">
                      <a:srgbClr val="FFFFFF"/>
                    </a:gs>
                  </a:gsLst>
                  <a:lin ang="16200000" scaled="1"/>
                  <a:tileRect/>
                </a:gradFill>
                <a:latin typeface="Segoe Sans Display Semibold"/>
                <a:cs typeface="Segoe Sans Display Semibold"/>
              </a:rPr>
              <a:t>sugli agenti IA </a:t>
            </a:r>
          </a:p>
        </p:txBody>
      </p:sp>
      <p:sp>
        <p:nvSpPr>
          <p:cNvPr id="6" name="Text Placeholder 16">
            <a:extLst>
              <a:ext uri="{FF2B5EF4-FFF2-40B4-BE49-F238E27FC236}">
                <a16:creationId xmlns:a16="http://schemas.microsoft.com/office/drawing/2014/main" id="{8CB8FEB4-F53C-D2A1-3501-916E64E29296}"/>
              </a:ext>
            </a:extLst>
          </p:cNvPr>
          <p:cNvSpPr txBox="1">
            <a:spLocks/>
          </p:cNvSpPr>
          <p:nvPr/>
        </p:nvSpPr>
        <p:spPr>
          <a:xfrm>
            <a:off x="279400" y="5236499"/>
            <a:ext cx="6858000" cy="276999"/>
          </a:xfrm>
          <a:prstGeom prst="rect">
            <a:avLst/>
          </a:prstGeom>
        </p:spPr>
        <p:txBody>
          <a:bodyPr lIns="0" tIns="45720" rIns="0" bIns="45720" anchor="t"/>
          <a:lstStyle>
            <a:lvl1pPr marL="0" marR="0" indent="0" algn="l" defTabSz="932742" rtl="0" eaLnBrk="1" fontAlgn="auto" latinLnBrk="0" hangingPunct="1">
              <a:lnSpc>
                <a:spcPct val="100000"/>
              </a:lnSpc>
              <a:spcBef>
                <a:spcPct val="20000"/>
              </a:spcBef>
              <a:spcAft>
                <a:spcPts val="0"/>
              </a:spcAft>
              <a:buClrTx/>
              <a:buSzPct val="90000"/>
              <a:buFontTx/>
              <a:buNone/>
              <a:tabLst/>
              <a:defRPr sz="2800" kern="1200" spc="0" baseline="0">
                <a:solidFill>
                  <a:srgbClr val="091F2C"/>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90000"/>
              </a:lnSpc>
              <a:buSzTx/>
              <a:defRPr/>
            </a:pPr>
            <a:r>
              <a:rPr lang="it-it" sz="2000" dirty="0">
                <a:solidFill>
                  <a:prstClr val="white"/>
                </a:solidFill>
                <a:latin typeface="Segoe Sans Display"/>
                <a:cs typeface="Segoe Sans Display"/>
              </a:rPr>
              <a:t>Inizieremo a breve, </a:t>
            </a:r>
            <a:r>
              <a:rPr lang="it-it" sz="2000" i="1" dirty="0">
                <a:solidFill>
                  <a:prstClr val="white"/>
                </a:solidFill>
                <a:latin typeface="+mj-lt"/>
                <a:cs typeface="Segoe Sans Display"/>
              </a:rPr>
              <a:t>2 minuti </a:t>
            </a:r>
            <a:r>
              <a:rPr lang="it-it" sz="2000" i="1" dirty="0">
                <a:solidFill>
                  <a:prstClr val="white"/>
                </a:solidFill>
                <a:latin typeface="Segoe Sans Display"/>
                <a:cs typeface="Segoe Sans Display"/>
              </a:rPr>
              <a:t>dopo l’orario indicato per l’inizio dell’incontro</a:t>
            </a:r>
          </a:p>
        </p:txBody>
      </p:sp>
      <p:pic>
        <p:nvPicPr>
          <p:cNvPr id="7" name="Picture 6" descr="Uno sfondo nero con testo bianco  I contenuti generati dall'IA possono non essere corretti.">
            <a:extLst>
              <a:ext uri="{FF2B5EF4-FFF2-40B4-BE49-F238E27FC236}">
                <a16:creationId xmlns:a16="http://schemas.microsoft.com/office/drawing/2014/main" id="{0BFBE9FB-2DC6-9AA7-13CC-EC2857F0FA67}"/>
              </a:ext>
            </a:extLst>
          </p:cNvPr>
          <p:cNvPicPr>
            <a:picLocks noChangeAspect="1"/>
          </p:cNvPicPr>
          <p:nvPr/>
        </p:nvPicPr>
        <p:blipFill>
          <a:blip r:embed="rId3"/>
          <a:stretch>
            <a:fillRect/>
          </a:stretch>
        </p:blipFill>
        <p:spPr>
          <a:xfrm>
            <a:off x="9883451" y="759259"/>
            <a:ext cx="1721536" cy="365760"/>
          </a:xfrm>
          <a:prstGeom prst="rect">
            <a:avLst/>
          </a:prstGeom>
        </p:spPr>
      </p:pic>
    </p:spTree>
    <p:extLst>
      <p:ext uri="{BB962C8B-B14F-4D97-AF65-F5344CB8AC3E}">
        <p14:creationId xmlns:p14="http://schemas.microsoft.com/office/powerpoint/2010/main" val="216504367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FC164-6ED3-9587-C7C0-C2656ED900DD}"/>
              </a:ext>
            </a:extLst>
          </p:cNvPr>
          <p:cNvSpPr>
            <a:spLocks noGrp="1"/>
          </p:cNvSpPr>
          <p:nvPr>
            <p:ph type="title"/>
          </p:nvPr>
        </p:nvSpPr>
        <p:spPr/>
        <p:txBody>
          <a:bodyPr/>
          <a:lstStyle/>
          <a:p>
            <a:r>
              <a:rPr lang="en-GB" dirty="0"/>
              <a:t>Dove </a:t>
            </a:r>
            <a:r>
              <a:rPr lang="en-GB" dirty="0" err="1"/>
              <a:t>possiamo</a:t>
            </a:r>
            <a:r>
              <a:rPr lang="en-GB" dirty="0"/>
              <a:t> </a:t>
            </a:r>
            <a:r>
              <a:rPr lang="en-GB" dirty="0" err="1"/>
              <a:t>trovare</a:t>
            </a:r>
            <a:r>
              <a:rPr lang="en-GB" dirty="0"/>
              <a:t> </a:t>
            </a:r>
            <a:r>
              <a:rPr lang="en-GB" dirty="0" err="1"/>
              <a:t>i</a:t>
            </a:r>
            <a:r>
              <a:rPr lang="en-GB" dirty="0"/>
              <a:t> </a:t>
            </a:r>
            <a:r>
              <a:rPr lang="en-GB" dirty="0" err="1"/>
              <a:t>nostri</a:t>
            </a:r>
            <a:r>
              <a:rPr lang="en-GB" dirty="0"/>
              <a:t> </a:t>
            </a:r>
            <a:r>
              <a:rPr lang="en-GB" dirty="0" err="1"/>
              <a:t>agenti</a:t>
            </a:r>
            <a:endParaRPr lang="en-US" dirty="0"/>
          </a:p>
        </p:txBody>
      </p:sp>
      <p:sp>
        <p:nvSpPr>
          <p:cNvPr id="3" name="Content Placeholder 12">
            <a:extLst>
              <a:ext uri="{FF2B5EF4-FFF2-40B4-BE49-F238E27FC236}">
                <a16:creationId xmlns:a16="http://schemas.microsoft.com/office/drawing/2014/main" id="{7B3EBB3E-7A3D-8C2B-4958-60824DD0B39E}"/>
              </a:ext>
            </a:extLst>
          </p:cNvPr>
          <p:cNvSpPr txBox="1">
            <a:spLocks/>
          </p:cNvSpPr>
          <p:nvPr/>
        </p:nvSpPr>
        <p:spPr>
          <a:xfrm>
            <a:off x="590285" y="1797654"/>
            <a:ext cx="4565915" cy="4242956"/>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spcBef>
                <a:spcPts val="600"/>
              </a:spcBef>
            </a:pPr>
            <a:r>
              <a:rPr lang="en-CA" b="1" dirty="0">
                <a:latin typeface="Segoe Sans Display"/>
                <a:cs typeface="Segoe Sans Display"/>
              </a:rPr>
              <a:t>Agent Store </a:t>
            </a:r>
            <a:r>
              <a:rPr lang="en-CA" dirty="0">
                <a:latin typeface="Segoe Sans Display"/>
                <a:cs typeface="Segoe Sans Display"/>
              </a:rPr>
              <a:t>è il </a:t>
            </a:r>
            <a:r>
              <a:rPr lang="en-CA" dirty="0" err="1">
                <a:latin typeface="Segoe Sans Display"/>
                <a:cs typeface="Segoe Sans Display"/>
              </a:rPr>
              <a:t>posto</a:t>
            </a:r>
            <a:r>
              <a:rPr lang="en-CA" dirty="0">
                <a:latin typeface="Segoe Sans Display"/>
                <a:cs typeface="Segoe Sans Display"/>
              </a:rPr>
              <a:t> dove </a:t>
            </a:r>
            <a:r>
              <a:rPr lang="en-CA" dirty="0" err="1">
                <a:latin typeface="Segoe Sans Display"/>
                <a:cs typeface="Segoe Sans Display"/>
              </a:rPr>
              <a:t>possiamo</a:t>
            </a:r>
            <a:r>
              <a:rPr lang="en-CA" dirty="0">
                <a:latin typeface="Segoe Sans Display"/>
                <a:cs typeface="Segoe Sans Display"/>
              </a:rPr>
              <a:t> </a:t>
            </a:r>
            <a:r>
              <a:rPr lang="en-CA" dirty="0" err="1">
                <a:latin typeface="Segoe Sans Display"/>
                <a:cs typeface="Segoe Sans Display"/>
              </a:rPr>
              <a:t>trovare</a:t>
            </a:r>
            <a:r>
              <a:rPr lang="en-CA" dirty="0">
                <a:latin typeface="Segoe Sans Display"/>
                <a:cs typeface="Segoe Sans Display"/>
              </a:rPr>
              <a:t> tutti </a:t>
            </a:r>
            <a:r>
              <a:rPr lang="en-CA" dirty="0" err="1">
                <a:latin typeface="Segoe Sans Display"/>
                <a:cs typeface="Segoe Sans Display"/>
              </a:rPr>
              <a:t>gli</a:t>
            </a:r>
            <a:r>
              <a:rPr lang="en-CA" dirty="0">
                <a:latin typeface="Segoe Sans Display"/>
                <a:cs typeface="Segoe Sans Display"/>
              </a:rPr>
              <a:t> </a:t>
            </a:r>
            <a:r>
              <a:rPr lang="en-CA" dirty="0" err="1">
                <a:latin typeface="Segoe Sans Display"/>
                <a:cs typeface="Segoe Sans Display"/>
              </a:rPr>
              <a:t>agenti</a:t>
            </a:r>
            <a:r>
              <a:rPr lang="en-CA" dirty="0">
                <a:latin typeface="Segoe Sans Display"/>
                <a:cs typeface="Segoe Sans Display"/>
              </a:rPr>
              <a:t> </a:t>
            </a:r>
            <a:r>
              <a:rPr lang="en-CA" dirty="0" err="1">
                <a:latin typeface="Segoe Sans Display"/>
                <a:cs typeface="Segoe Sans Display"/>
              </a:rPr>
              <a:t>messi</a:t>
            </a:r>
            <a:r>
              <a:rPr lang="en-CA" dirty="0">
                <a:latin typeface="Segoe Sans Display"/>
                <a:cs typeface="Segoe Sans Display"/>
              </a:rPr>
              <a:t> a </a:t>
            </a:r>
            <a:r>
              <a:rPr lang="en-CA" dirty="0" err="1">
                <a:latin typeface="Segoe Sans Display"/>
                <a:cs typeface="Segoe Sans Display"/>
              </a:rPr>
              <a:t>disposizione</a:t>
            </a:r>
            <a:r>
              <a:rPr lang="en-CA" dirty="0">
                <a:latin typeface="Segoe Sans Display"/>
                <a:cs typeface="Segoe Sans Display"/>
              </a:rPr>
              <a:t> da:</a:t>
            </a:r>
          </a:p>
          <a:p>
            <a:pPr marL="480600" lvl="1" indent="-228600">
              <a:spcBef>
                <a:spcPts val="600"/>
              </a:spcBef>
              <a:spcAft>
                <a:spcPts val="0"/>
              </a:spcAft>
            </a:pPr>
            <a:r>
              <a:rPr lang="en-CA" b="1" dirty="0">
                <a:solidFill>
                  <a:schemeClr val="tx1"/>
                </a:solidFill>
                <a:latin typeface="Segoe Sans Display"/>
                <a:cs typeface="Segoe Sans Display"/>
              </a:rPr>
              <a:t>Microsoft</a:t>
            </a:r>
          </a:p>
          <a:p>
            <a:pPr marL="480600" lvl="1" indent="-228600">
              <a:spcBef>
                <a:spcPts val="600"/>
              </a:spcBef>
              <a:spcAft>
                <a:spcPts val="0"/>
              </a:spcAft>
            </a:pPr>
            <a:r>
              <a:rPr lang="en-CA" b="1" dirty="0">
                <a:solidFill>
                  <a:schemeClr val="tx1"/>
                </a:solidFill>
                <a:latin typeface="Segoe Sans Display"/>
                <a:cs typeface="Segoe Sans Display"/>
              </a:rPr>
              <a:t>Partner</a:t>
            </a:r>
          </a:p>
          <a:p>
            <a:pPr marL="480600" lvl="1" indent="-228600">
              <a:spcBef>
                <a:spcPts val="600"/>
              </a:spcBef>
              <a:spcAft>
                <a:spcPts val="0"/>
              </a:spcAft>
            </a:pPr>
            <a:r>
              <a:rPr lang="en-CA" b="1" dirty="0" err="1">
                <a:solidFill>
                  <a:schemeClr val="tx1"/>
                </a:solidFill>
                <a:latin typeface="Segoe Sans Display"/>
                <a:cs typeface="Segoe Sans Display"/>
              </a:rPr>
              <a:t>Agenti</a:t>
            </a:r>
            <a:r>
              <a:rPr lang="en-CA" b="1" dirty="0">
                <a:solidFill>
                  <a:schemeClr val="tx1"/>
                </a:solidFill>
                <a:latin typeface="Segoe Sans Display"/>
                <a:cs typeface="Segoe Sans Display"/>
              </a:rPr>
              <a:t> custom </a:t>
            </a:r>
            <a:r>
              <a:rPr lang="en-CA" b="1" dirty="0" err="1">
                <a:solidFill>
                  <a:schemeClr val="tx1"/>
                </a:solidFill>
                <a:latin typeface="Segoe Sans Display"/>
                <a:cs typeface="Segoe Sans Display"/>
              </a:rPr>
              <a:t>dell’organizzazione</a:t>
            </a:r>
            <a:endParaRPr lang="en-CA" b="1" dirty="0">
              <a:solidFill>
                <a:schemeClr val="tx1"/>
              </a:solidFill>
              <a:latin typeface="Segoe Sans Display"/>
              <a:cs typeface="Segoe Sans Display"/>
            </a:endParaRPr>
          </a:p>
          <a:p>
            <a:pPr marL="480600" lvl="1" indent="-228600">
              <a:spcBef>
                <a:spcPts val="600"/>
              </a:spcBef>
              <a:spcAft>
                <a:spcPts val="0"/>
              </a:spcAft>
            </a:pPr>
            <a:endParaRPr lang="en-CA" b="1" dirty="0">
              <a:solidFill>
                <a:schemeClr val="tx1"/>
              </a:solidFill>
              <a:latin typeface="Segoe Sans Display"/>
              <a:cs typeface="Segoe Sans Display"/>
            </a:endParaRPr>
          </a:p>
          <a:p>
            <a:pPr marL="228600" indent="-228600">
              <a:lnSpc>
                <a:spcPct val="112999"/>
              </a:lnSpc>
              <a:spcBef>
                <a:spcPts val="600"/>
              </a:spcBef>
            </a:pPr>
            <a:r>
              <a:rPr lang="en-US" b="1" dirty="0" err="1">
                <a:solidFill>
                  <a:schemeClr val="tx1"/>
                </a:solidFill>
                <a:latin typeface="Segoe Sans Display"/>
                <a:cs typeface="Segoe Sans Display"/>
              </a:rPr>
              <a:t>Gli</a:t>
            </a:r>
            <a:r>
              <a:rPr lang="en-US" b="1" dirty="0">
                <a:solidFill>
                  <a:schemeClr val="tx1"/>
                </a:solidFill>
                <a:latin typeface="Segoe Sans Display"/>
                <a:cs typeface="Segoe Sans Display"/>
              </a:rPr>
              <a:t> </a:t>
            </a:r>
            <a:r>
              <a:rPr lang="en-US" b="1" dirty="0" err="1">
                <a:solidFill>
                  <a:schemeClr val="tx1"/>
                </a:solidFill>
                <a:latin typeface="Segoe Sans Display"/>
                <a:cs typeface="Segoe Sans Display"/>
              </a:rPr>
              <a:t>amministratori</a:t>
            </a:r>
            <a:r>
              <a:rPr lang="en-US" b="1" dirty="0">
                <a:solidFill>
                  <a:schemeClr val="tx1"/>
                </a:solidFill>
                <a:latin typeface="Segoe Sans Display"/>
                <a:cs typeface="Segoe Sans Display"/>
              </a:rPr>
              <a:t> IT </a:t>
            </a:r>
            <a:r>
              <a:rPr lang="en-US" b="1" dirty="0" err="1">
                <a:solidFill>
                  <a:schemeClr val="tx1"/>
                </a:solidFill>
                <a:latin typeface="Segoe Sans Display"/>
                <a:cs typeface="Segoe Sans Display"/>
              </a:rPr>
              <a:t>hanno</a:t>
            </a:r>
            <a:r>
              <a:rPr lang="en-US" b="1" dirty="0">
                <a:solidFill>
                  <a:schemeClr val="tx1"/>
                </a:solidFill>
                <a:latin typeface="Segoe Sans Display"/>
                <a:cs typeface="Segoe Sans Display"/>
              </a:rPr>
              <a:t> la </a:t>
            </a:r>
            <a:r>
              <a:rPr lang="en-US" b="1" dirty="0" err="1">
                <a:solidFill>
                  <a:schemeClr val="tx1"/>
                </a:solidFill>
                <a:latin typeface="Segoe Sans Display"/>
                <a:cs typeface="Segoe Sans Display"/>
              </a:rPr>
              <a:t>piena</a:t>
            </a:r>
            <a:r>
              <a:rPr lang="en-US" b="1" dirty="0">
                <a:solidFill>
                  <a:schemeClr val="tx1"/>
                </a:solidFill>
                <a:latin typeface="Segoe Sans Display"/>
                <a:cs typeface="Segoe Sans Display"/>
              </a:rPr>
              <a:t> </a:t>
            </a:r>
            <a:r>
              <a:rPr lang="en-US" b="1" dirty="0" err="1">
                <a:solidFill>
                  <a:schemeClr val="tx1"/>
                </a:solidFill>
                <a:latin typeface="Segoe Sans Display"/>
                <a:cs typeface="Segoe Sans Display"/>
              </a:rPr>
              <a:t>visibilità</a:t>
            </a:r>
            <a:r>
              <a:rPr lang="en-US" b="1" dirty="0">
                <a:solidFill>
                  <a:schemeClr val="tx1"/>
                </a:solidFill>
                <a:latin typeface="Segoe Sans Display"/>
                <a:cs typeface="Segoe Sans Display"/>
              </a:rPr>
              <a:t> e </a:t>
            </a:r>
            <a:r>
              <a:rPr lang="en-US" b="1" dirty="0" err="1">
                <a:solidFill>
                  <a:schemeClr val="tx1"/>
                </a:solidFill>
                <a:latin typeface="Segoe Sans Display"/>
                <a:cs typeface="Segoe Sans Display"/>
              </a:rPr>
              <a:t>controllo</a:t>
            </a:r>
            <a:r>
              <a:rPr lang="en-US" dirty="0">
                <a:solidFill>
                  <a:schemeClr val="tx1"/>
                </a:solidFill>
                <a:latin typeface="Segoe Sans Display"/>
                <a:cs typeface="Segoe Sans Display"/>
              </a:rPr>
              <a:t> </a:t>
            </a:r>
            <a:r>
              <a:rPr lang="en-US" dirty="0" err="1">
                <a:solidFill>
                  <a:schemeClr val="tx1"/>
                </a:solidFill>
                <a:latin typeface="Segoe Sans Display"/>
                <a:cs typeface="Segoe Sans Display"/>
              </a:rPr>
              <a:t>su</a:t>
            </a:r>
            <a:r>
              <a:rPr lang="en-US" dirty="0">
                <a:solidFill>
                  <a:schemeClr val="tx1"/>
                </a:solidFill>
                <a:latin typeface="Segoe Sans Display"/>
                <a:cs typeface="Segoe Sans Display"/>
              </a:rPr>
              <a:t> </a:t>
            </a:r>
            <a:r>
              <a:rPr lang="en-US" dirty="0" err="1">
                <a:solidFill>
                  <a:schemeClr val="tx1"/>
                </a:solidFill>
                <a:latin typeface="Segoe Sans Display"/>
                <a:cs typeface="Segoe Sans Display"/>
              </a:rPr>
              <a:t>quali</a:t>
            </a:r>
            <a:r>
              <a:rPr lang="en-US" dirty="0">
                <a:solidFill>
                  <a:schemeClr val="tx1"/>
                </a:solidFill>
                <a:latin typeface="Segoe Sans Display"/>
                <a:cs typeface="Segoe Sans Display"/>
              </a:rPr>
              <a:t> </a:t>
            </a:r>
            <a:r>
              <a:rPr lang="en-US" dirty="0" err="1">
                <a:solidFill>
                  <a:schemeClr val="tx1"/>
                </a:solidFill>
                <a:latin typeface="Segoe Sans Display"/>
                <a:cs typeface="Segoe Sans Display"/>
              </a:rPr>
              <a:t>agenti</a:t>
            </a:r>
            <a:r>
              <a:rPr lang="en-US" dirty="0">
                <a:solidFill>
                  <a:schemeClr val="tx1"/>
                </a:solidFill>
                <a:latin typeface="Segoe Sans Display"/>
                <a:cs typeface="Segoe Sans Display"/>
              </a:rPr>
              <a:t> </a:t>
            </a:r>
            <a:r>
              <a:rPr lang="en-US" dirty="0" err="1">
                <a:solidFill>
                  <a:schemeClr val="tx1"/>
                </a:solidFill>
                <a:latin typeface="Segoe Sans Display"/>
                <a:cs typeface="Segoe Sans Display"/>
              </a:rPr>
              <a:t>sono</a:t>
            </a:r>
            <a:r>
              <a:rPr lang="en-US" dirty="0">
                <a:solidFill>
                  <a:schemeClr val="tx1"/>
                </a:solidFill>
                <a:latin typeface="Segoe Sans Display"/>
                <a:cs typeface="Segoe Sans Display"/>
              </a:rPr>
              <a:t> </a:t>
            </a:r>
            <a:r>
              <a:rPr lang="en-US" dirty="0" err="1">
                <a:solidFill>
                  <a:schemeClr val="tx1"/>
                </a:solidFill>
                <a:latin typeface="Segoe Sans Display"/>
                <a:cs typeface="Segoe Sans Display"/>
              </a:rPr>
              <a:t>visibili</a:t>
            </a:r>
            <a:r>
              <a:rPr lang="en-US" dirty="0">
                <a:solidFill>
                  <a:schemeClr val="tx1"/>
                </a:solidFill>
                <a:latin typeface="Segoe Sans Display"/>
                <a:cs typeface="Segoe Sans Display"/>
              </a:rPr>
              <a:t> e </a:t>
            </a:r>
            <a:r>
              <a:rPr lang="en-US" dirty="0" err="1">
                <a:solidFill>
                  <a:schemeClr val="tx1"/>
                </a:solidFill>
                <a:latin typeface="Segoe Sans Display"/>
                <a:cs typeface="Segoe Sans Display"/>
              </a:rPr>
              <a:t>accessibili</a:t>
            </a:r>
            <a:r>
              <a:rPr lang="en-US" dirty="0">
                <a:solidFill>
                  <a:schemeClr val="tx1"/>
                </a:solidFill>
                <a:latin typeface="Segoe Sans Display"/>
                <a:cs typeface="Segoe Sans Display"/>
              </a:rPr>
              <a:t> </a:t>
            </a:r>
            <a:r>
              <a:rPr lang="en-US" dirty="0" err="1">
                <a:solidFill>
                  <a:schemeClr val="tx1"/>
                </a:solidFill>
                <a:latin typeface="Segoe Sans Display"/>
                <a:cs typeface="Segoe Sans Display"/>
              </a:rPr>
              <a:t>all’interno</a:t>
            </a:r>
            <a:r>
              <a:rPr lang="en-US" dirty="0">
                <a:solidFill>
                  <a:schemeClr val="tx1"/>
                </a:solidFill>
                <a:latin typeface="Segoe Sans Display"/>
                <a:cs typeface="Segoe Sans Display"/>
              </a:rPr>
              <a:t> </a:t>
            </a:r>
            <a:r>
              <a:rPr lang="en-US" dirty="0" err="1">
                <a:solidFill>
                  <a:schemeClr val="tx1"/>
                </a:solidFill>
                <a:latin typeface="Segoe Sans Display"/>
                <a:cs typeface="Segoe Sans Display"/>
              </a:rPr>
              <a:t>dell’organizzazione</a:t>
            </a:r>
            <a:r>
              <a:rPr lang="en-US" dirty="0">
                <a:solidFill>
                  <a:schemeClr val="tx1"/>
                </a:solidFill>
                <a:latin typeface="Segoe Sans Display"/>
                <a:cs typeface="Segoe Sans Display"/>
              </a:rPr>
              <a:t>. </a:t>
            </a:r>
          </a:p>
          <a:p>
            <a:pPr marL="228600" indent="-228600">
              <a:lnSpc>
                <a:spcPct val="112999"/>
              </a:lnSpc>
              <a:spcBef>
                <a:spcPts val="600"/>
              </a:spcBef>
            </a:pPr>
            <a:r>
              <a:rPr lang="it-IT" noProof="0" dirty="0">
                <a:solidFill>
                  <a:schemeClr val="tx1"/>
                </a:solidFill>
                <a:latin typeface="Segoe Sans Display"/>
                <a:cs typeface="Segoe Sans Display"/>
              </a:rPr>
              <a:t>Tutti gli agenti nativi, sviluppati da Microsoft o tramite partner, sono sottoposti ad un </a:t>
            </a:r>
            <a:r>
              <a:rPr lang="it-IT" b="1" noProof="0" dirty="0">
                <a:solidFill>
                  <a:schemeClr val="tx1"/>
                </a:solidFill>
                <a:latin typeface="Segoe Sans Display"/>
                <a:cs typeface="Segoe Sans Display"/>
              </a:rPr>
              <a:t>rigoroso processo di validazione e standard elevati in termini di sicurezza e compliance</a:t>
            </a:r>
            <a:r>
              <a:rPr lang="it-IT" noProof="0" dirty="0">
                <a:solidFill>
                  <a:schemeClr val="tx1"/>
                </a:solidFill>
                <a:latin typeface="Segoe Sans Display"/>
                <a:cs typeface="Segoe Sans Display"/>
              </a:rPr>
              <a:t> </a:t>
            </a:r>
            <a:r>
              <a:rPr lang="en-US" dirty="0">
                <a:solidFill>
                  <a:schemeClr val="tx1"/>
                </a:solidFill>
                <a:latin typeface="Segoe Sans Display"/>
                <a:cs typeface="Segoe Sans Display"/>
              </a:rPr>
              <a:t>(</a:t>
            </a:r>
            <a:r>
              <a:rPr lang="en-GB" dirty="0">
                <a:solidFill>
                  <a:srgbClr val="161616"/>
                </a:solidFill>
                <a:hlinkClick r:id="rId3"/>
              </a:rPr>
              <a:t>Microsoft 365 App Compliance Program</a:t>
            </a:r>
            <a:r>
              <a:rPr lang="en-GB" dirty="0">
                <a:solidFill>
                  <a:srgbClr val="161616"/>
                </a:solidFill>
              </a:rPr>
              <a:t>)</a:t>
            </a:r>
            <a:r>
              <a:rPr lang="en-US" dirty="0">
                <a:solidFill>
                  <a:schemeClr val="tx1"/>
                </a:solidFill>
                <a:latin typeface="Segoe Sans Display"/>
                <a:cs typeface="Segoe Sans Display"/>
              </a:rPr>
              <a:t>.</a:t>
            </a:r>
          </a:p>
        </p:txBody>
      </p:sp>
      <p:pic>
        <p:nvPicPr>
          <p:cNvPr id="4" name="Picture Placeholder 4">
            <a:extLst>
              <a:ext uri="{FF2B5EF4-FFF2-40B4-BE49-F238E27FC236}">
                <a16:creationId xmlns:a16="http://schemas.microsoft.com/office/drawing/2014/main" id="{5B7D0CCC-90AD-6084-016A-5B98BA83C7BB}"/>
              </a:ext>
            </a:extLst>
          </p:cNvPr>
          <p:cNvPicPr>
            <a:picLocks noChangeAspect="1"/>
          </p:cNvPicPr>
          <p:nvPr/>
        </p:nvPicPr>
        <p:blipFill>
          <a:blip r:embed="rId4">
            <a:extLst>
              <a:ext uri="{28A0092B-C50C-407E-A947-70E740481C1C}">
                <a14:useLocalDpi xmlns:a14="http://schemas.microsoft.com/office/drawing/2010/main" val="0"/>
              </a:ext>
            </a:extLst>
          </a:blip>
          <a:srcRect t="361" b="124"/>
          <a:stretch>
            <a:fillRect/>
          </a:stretch>
        </p:blipFill>
        <p:spPr>
          <a:xfrm>
            <a:off x="5758699" y="1615670"/>
            <a:ext cx="5843016" cy="4063236"/>
          </a:xfrm>
          <a:prstGeom prst="roundRect">
            <a:avLst>
              <a:gd name="adj" fmla="val 1531"/>
            </a:avLst>
          </a:prstGeom>
          <a:solidFill>
            <a:sysClr val="window" lastClr="FFFFFF"/>
          </a:solidFill>
          <a:ln>
            <a:solidFill>
              <a:schemeClr val="bg1">
                <a:lumMod val="95000"/>
              </a:schemeClr>
            </a:solidFill>
          </a:ln>
          <a:effectLst>
            <a:outerShdw blurRad="120303" dist="87506" dir="3600000" sx="102443" sy="102443" algn="tl" rotWithShape="0">
              <a:prstClr val="black">
                <a:alpha val="8000"/>
              </a:prstClr>
            </a:outerShdw>
          </a:effectLst>
        </p:spPr>
      </p:pic>
    </p:spTree>
    <p:extLst>
      <p:ext uri="{BB962C8B-B14F-4D97-AF65-F5344CB8AC3E}">
        <p14:creationId xmlns:p14="http://schemas.microsoft.com/office/powerpoint/2010/main" val="138905778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F32A25-6BCE-67BC-564B-063506BFDC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471FA1-73C5-2E79-36C9-D8E18C38B775}"/>
              </a:ext>
            </a:extLst>
          </p:cNvPr>
          <p:cNvSpPr>
            <a:spLocks noGrp="1"/>
          </p:cNvSpPr>
          <p:nvPr>
            <p:ph type="title"/>
          </p:nvPr>
        </p:nvSpPr>
        <p:spPr>
          <a:xfrm>
            <a:off x="180561" y="2653647"/>
            <a:ext cx="8552622" cy="553998"/>
          </a:xfrm>
          <a:prstGeom prst="rect">
            <a:avLst/>
          </a:prstGeom>
        </p:spPr>
        <p:txBody>
          <a:bodyPr/>
          <a:lstStyle/>
          <a:p>
            <a:pPr lvl="0">
              <a:defRPr/>
            </a:pPr>
            <a:r>
              <a:rPr lang="it-IT" spc="-50" dirty="0">
                <a:ln w="3175">
                  <a:noFill/>
                </a:ln>
                <a:solidFill>
                  <a:schemeClr val="tx1"/>
                </a:solidFill>
                <a:latin typeface="Segoe Sans Display Semibold"/>
                <a:cs typeface="Segoe Sans Display Semibold"/>
              </a:rPr>
              <a:t>Il valore degli agenti in azienda</a:t>
            </a:r>
          </a:p>
        </p:txBody>
      </p:sp>
    </p:spTree>
    <p:extLst>
      <p:ext uri="{BB962C8B-B14F-4D97-AF65-F5344CB8AC3E}">
        <p14:creationId xmlns:p14="http://schemas.microsoft.com/office/powerpoint/2010/main" val="425105038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85DF3-C9A3-1918-0BF1-8C8B101CA8B0}"/>
            </a:ext>
          </a:extLst>
        </p:cNvPr>
        <p:cNvGrpSpPr/>
        <p:nvPr/>
      </p:nvGrpSpPr>
      <p:grpSpPr>
        <a:xfrm>
          <a:off x="0" y="0"/>
          <a:ext cx="0" cy="0"/>
          <a:chOff x="0" y="0"/>
          <a:chExt cx="0" cy="0"/>
        </a:xfrm>
      </p:grpSpPr>
      <p:sp>
        <p:nvSpPr>
          <p:cNvPr id="8" name="Rectangle: Rounded Corners 11">
            <a:extLst>
              <a:ext uri="{FF2B5EF4-FFF2-40B4-BE49-F238E27FC236}">
                <a16:creationId xmlns:a16="http://schemas.microsoft.com/office/drawing/2014/main" id="{98AB5818-5923-DEC0-852A-3DA53E743209}"/>
              </a:ext>
              <a:ext uri="{C183D7F6-B498-43B3-948B-1728B52AA6E4}">
                <adec:decorative xmlns:adec="http://schemas.microsoft.com/office/drawing/2017/decorative" val="1"/>
              </a:ext>
            </a:extLst>
          </p:cNvPr>
          <p:cNvSpPr>
            <a:spLocks/>
          </p:cNvSpPr>
          <p:nvPr/>
        </p:nvSpPr>
        <p:spPr>
          <a:xfrm>
            <a:off x="571500" y="2065912"/>
            <a:ext cx="11049000" cy="4200043"/>
          </a:xfrm>
          <a:prstGeom prst="roundRect">
            <a:avLst>
              <a:gd name="adj" fmla="val 2940"/>
            </a:avLst>
          </a:prstGeom>
          <a:solidFill>
            <a:schemeClr val="bg1">
              <a:alpha val="50000"/>
            </a:schemeClr>
          </a:solidFill>
          <a:ln w="1270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9" name="Rounded Rectangle 36">
            <a:extLst>
              <a:ext uri="{FF2B5EF4-FFF2-40B4-BE49-F238E27FC236}">
                <a16:creationId xmlns:a16="http://schemas.microsoft.com/office/drawing/2014/main" id="{835C4C2C-B5DB-913C-C46F-95E365BA6C1D}"/>
              </a:ext>
            </a:extLst>
          </p:cNvPr>
          <p:cNvSpPr>
            <a:spLocks/>
          </p:cNvSpPr>
          <p:nvPr/>
        </p:nvSpPr>
        <p:spPr bwMode="auto">
          <a:xfrm>
            <a:off x="629155" y="2128928"/>
            <a:ext cx="10933692" cy="4069928"/>
          </a:xfrm>
          <a:prstGeom prst="roundRect">
            <a:avLst>
              <a:gd name="adj" fmla="val 3451"/>
            </a:avLst>
          </a:prstGeom>
          <a:solidFill>
            <a:schemeClr val="bg1">
              <a:alpha val="95000"/>
            </a:schemeClr>
          </a:solidFill>
          <a:ln w="635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 name="Title 3">
            <a:extLst>
              <a:ext uri="{FF2B5EF4-FFF2-40B4-BE49-F238E27FC236}">
                <a16:creationId xmlns:a16="http://schemas.microsoft.com/office/drawing/2014/main" id="{94934433-7EDE-2EB2-BE6B-637EF2A214B2}"/>
              </a:ext>
            </a:extLst>
          </p:cNvPr>
          <p:cNvSpPr>
            <a:spLocks noGrp="1"/>
          </p:cNvSpPr>
          <p:nvPr>
            <p:ph type="title"/>
          </p:nvPr>
        </p:nvSpPr>
        <p:spPr>
          <a:xfrm>
            <a:off x="614871" y="622362"/>
            <a:ext cx="11018520" cy="553998"/>
          </a:xfrm>
        </p:spPr>
        <p:txBody>
          <a:bodyPr/>
          <a:lstStyle/>
          <a:p>
            <a:pPr lvl="0" algn="ctr"/>
            <a:r>
              <a:rPr lang="en-US" dirty="0"/>
              <a:t>Un </a:t>
            </a:r>
            <a:r>
              <a:rPr lang="en-US" dirty="0" err="1"/>
              <a:t>vasto</a:t>
            </a:r>
            <a:r>
              <a:rPr lang="en-US" dirty="0"/>
              <a:t> </a:t>
            </a:r>
            <a:r>
              <a:rPr lang="en-US" dirty="0" err="1"/>
              <a:t>ecosistema</a:t>
            </a:r>
            <a:r>
              <a:rPr lang="en-US" dirty="0"/>
              <a:t> per </a:t>
            </a:r>
            <a:r>
              <a:rPr lang="en-US" dirty="0" err="1"/>
              <a:t>guidare</a:t>
            </a:r>
            <a:r>
              <a:rPr lang="en-US" dirty="0"/>
              <a:t> la </a:t>
            </a:r>
            <a:r>
              <a:rPr lang="en-US" dirty="0" err="1"/>
              <a:t>trasformazione</a:t>
            </a:r>
            <a:r>
              <a:rPr lang="en-US" dirty="0"/>
              <a:t> IA</a:t>
            </a:r>
          </a:p>
        </p:txBody>
      </p:sp>
      <p:cxnSp>
        <p:nvCxnSpPr>
          <p:cNvPr id="11" name="Straight Connector 10">
            <a:extLst>
              <a:ext uri="{FF2B5EF4-FFF2-40B4-BE49-F238E27FC236}">
                <a16:creationId xmlns:a16="http://schemas.microsoft.com/office/drawing/2014/main" id="{BAACA72D-664B-6B9D-5887-CD560E4ECB48}"/>
              </a:ext>
            </a:extLst>
          </p:cNvPr>
          <p:cNvCxnSpPr>
            <a:cxnSpLocks/>
          </p:cNvCxnSpPr>
          <p:nvPr/>
        </p:nvCxnSpPr>
        <p:spPr>
          <a:xfrm>
            <a:off x="4271375" y="2450796"/>
            <a:ext cx="0" cy="357181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DFAD801-F1A5-89AC-314F-2B7F02B47AFB}"/>
              </a:ext>
            </a:extLst>
          </p:cNvPr>
          <p:cNvCxnSpPr>
            <a:cxnSpLocks/>
          </p:cNvCxnSpPr>
          <p:nvPr/>
        </p:nvCxnSpPr>
        <p:spPr>
          <a:xfrm>
            <a:off x="7917112" y="2450796"/>
            <a:ext cx="0" cy="357181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69FCDA0-9F9D-0F69-23F2-53CB2D6F17D3}"/>
              </a:ext>
            </a:extLst>
          </p:cNvPr>
          <p:cNvSpPr txBox="1"/>
          <p:nvPr/>
        </p:nvSpPr>
        <p:spPr>
          <a:xfrm>
            <a:off x="1382961" y="2615011"/>
            <a:ext cx="2197900" cy="249299"/>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800" b="0" i="0" u="none" strike="noStrike" kern="1200" cap="none" spc="0" normalizeH="0" baseline="0" noProof="0" dirty="0" err="1">
                <a:ln w="3175">
                  <a:noFill/>
                </a:ln>
                <a:solidFill>
                  <a:srgbClr val="091F2C"/>
                </a:solidFill>
                <a:effectLst/>
                <a:uLnTx/>
                <a:uFillTx/>
                <a:latin typeface="Segoe Sans Display Semibold"/>
                <a:ea typeface="+mn-ea"/>
                <a:cs typeface="Segoe Sans Display" pitchFamily="2" charset="0"/>
              </a:rPr>
              <a:t>Agenti</a:t>
            </a:r>
            <a:r>
              <a:rPr kumimoji="0" lang="en-US" sz="1800" b="0" i="0" u="none" strike="noStrike" kern="1200" cap="none" spc="0" normalizeH="0" baseline="0" noProof="0" dirty="0">
                <a:ln w="3175">
                  <a:noFill/>
                </a:ln>
                <a:solidFill>
                  <a:srgbClr val="091F2C"/>
                </a:solidFill>
                <a:effectLst/>
                <a:uLnTx/>
                <a:uFillTx/>
                <a:latin typeface="Segoe Sans Display Semibold"/>
                <a:ea typeface="+mn-ea"/>
                <a:cs typeface="Segoe Sans Display" pitchFamily="2" charset="0"/>
              </a:rPr>
              <a:t> Microsoft</a:t>
            </a:r>
          </a:p>
        </p:txBody>
      </p:sp>
      <p:sp>
        <p:nvSpPr>
          <p:cNvPr id="21" name="TextBox 20">
            <a:extLst>
              <a:ext uri="{FF2B5EF4-FFF2-40B4-BE49-F238E27FC236}">
                <a16:creationId xmlns:a16="http://schemas.microsoft.com/office/drawing/2014/main" id="{A8743A0D-800D-D4B5-0A31-9AB57AD55B87}"/>
              </a:ext>
            </a:extLst>
          </p:cNvPr>
          <p:cNvSpPr txBox="1"/>
          <p:nvPr/>
        </p:nvSpPr>
        <p:spPr>
          <a:xfrm>
            <a:off x="1193950" y="5283942"/>
            <a:ext cx="2512630" cy="86177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100000"/>
              </a:lnSpc>
              <a:spcBef>
                <a:spcPts val="300"/>
              </a:spcBef>
              <a:spcAft>
                <a:spcPts val="0"/>
              </a:spcAft>
              <a:buClrTx/>
              <a:buSzTx/>
              <a:buFontTx/>
              <a:buNone/>
              <a:tabLst>
                <a:tab pos="1371655" algn="l"/>
              </a:tabLst>
              <a:defRPr/>
            </a:pPr>
            <a:r>
              <a:rPr kumimoji="0" lang="it-IT" sz="1400" b="0" i="0" u="none" strike="noStrike" kern="1200" cap="none" spc="0" normalizeH="0" baseline="0" noProof="0" dirty="0">
                <a:ln w="3175">
                  <a:noFill/>
                </a:ln>
                <a:solidFill>
                  <a:srgbClr val="091F2C"/>
                </a:solidFill>
                <a:effectLst/>
                <a:uLnTx/>
                <a:uFillTx/>
                <a:latin typeface="Segoe Sans Display"/>
                <a:ea typeface="+mn-ea"/>
                <a:cs typeface="Segoe Sans Display" pitchFamily="2" charset="0"/>
              </a:rPr>
              <a:t>Agenti forniti direttamente da Microsoft, con diversi livelli di integrazione con i Servi</a:t>
            </a:r>
            <a:r>
              <a:rPr lang="it-IT" sz="1400" dirty="0">
                <a:ln w="3175">
                  <a:noFill/>
                </a:ln>
                <a:solidFill>
                  <a:srgbClr val="091F2C"/>
                </a:solidFill>
                <a:latin typeface="Segoe Sans Display"/>
                <a:cs typeface="Segoe Sans Display" pitchFamily="2" charset="0"/>
              </a:rPr>
              <a:t>zi M365</a:t>
            </a:r>
            <a:r>
              <a:rPr kumimoji="0" lang="it-IT" sz="1400" b="0" i="0" u="none" strike="noStrike" kern="1200" cap="none" spc="0" normalizeH="0" baseline="0" noProof="0" dirty="0">
                <a:ln w="3175">
                  <a:noFill/>
                </a:ln>
                <a:solidFill>
                  <a:srgbClr val="091F2C"/>
                </a:solidFill>
                <a:effectLst/>
                <a:uLnTx/>
                <a:uFillTx/>
                <a:latin typeface="Segoe Sans Display"/>
                <a:ea typeface="+mn-ea"/>
                <a:cs typeface="Segoe Sans Display" pitchFamily="2" charset="0"/>
              </a:rPr>
              <a:t> e personalizzazione</a:t>
            </a:r>
          </a:p>
        </p:txBody>
      </p:sp>
      <p:sp>
        <p:nvSpPr>
          <p:cNvPr id="38" name="Rectangle: Rounded Corners 7">
            <a:extLst>
              <a:ext uri="{FF2B5EF4-FFF2-40B4-BE49-F238E27FC236}">
                <a16:creationId xmlns:a16="http://schemas.microsoft.com/office/drawing/2014/main" id="{88DD95D8-711E-29DA-EBAA-1475EB3B222D}"/>
              </a:ext>
              <a:ext uri="{C183D7F6-B498-43B3-948B-1728B52AA6E4}">
                <adec:decorative xmlns:adec="http://schemas.microsoft.com/office/drawing/2017/decorative" val="0"/>
              </a:ext>
            </a:extLst>
          </p:cNvPr>
          <p:cNvSpPr>
            <a:spLocks noChangeAspect="1"/>
          </p:cNvSpPr>
          <p:nvPr/>
        </p:nvSpPr>
        <p:spPr bwMode="auto">
          <a:xfrm>
            <a:off x="2236310" y="1883328"/>
            <a:ext cx="491202" cy="491200"/>
          </a:xfrm>
          <a:prstGeom prst="ellipse">
            <a:avLst/>
          </a:prstGeom>
          <a:gradFill flip="none" rotWithShape="1">
            <a:gsLst>
              <a:gs pos="41000">
                <a:schemeClr val="accent1"/>
              </a:gs>
              <a:gs pos="95000">
                <a:schemeClr val="accent2"/>
              </a:gs>
            </a:gsLst>
            <a:path path="circle">
              <a:fillToRect r="100000" b="100000"/>
            </a:path>
            <a:tileRect l="-100000" t="-100000"/>
          </a:gradFill>
          <a:ln w="63500" cap="flat">
            <a:solidFill>
              <a:schemeClr val="bg1"/>
            </a:solidFill>
            <a:round/>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71762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Sans Display Semibold"/>
                <a:ea typeface="+mn-ea"/>
                <a:cs typeface="+mn-cs"/>
              </a:rPr>
              <a:t>1</a:t>
            </a:r>
          </a:p>
        </p:txBody>
      </p:sp>
      <p:sp>
        <p:nvSpPr>
          <p:cNvPr id="24" name="TextBox 23">
            <a:extLst>
              <a:ext uri="{FF2B5EF4-FFF2-40B4-BE49-F238E27FC236}">
                <a16:creationId xmlns:a16="http://schemas.microsoft.com/office/drawing/2014/main" id="{75890734-F009-637A-C8DA-441A112B810E}"/>
              </a:ext>
            </a:extLst>
          </p:cNvPr>
          <p:cNvSpPr txBox="1"/>
          <p:nvPr/>
        </p:nvSpPr>
        <p:spPr>
          <a:xfrm>
            <a:off x="5030092" y="2615011"/>
            <a:ext cx="2197900" cy="249299"/>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800" b="0" i="0" u="none" strike="noStrike" kern="1200" cap="none" spc="0" normalizeH="0" baseline="0" noProof="0" dirty="0" err="1">
                <a:ln w="3175">
                  <a:noFill/>
                </a:ln>
                <a:solidFill>
                  <a:srgbClr val="091F2C"/>
                </a:solidFill>
                <a:effectLst/>
                <a:uLnTx/>
                <a:uFillTx/>
                <a:latin typeface="Segoe Sans Display Semibold"/>
                <a:ea typeface="+mn-ea"/>
                <a:cs typeface="Segoe Sans Display" pitchFamily="2" charset="0"/>
              </a:rPr>
              <a:t>Agenti</a:t>
            </a:r>
            <a:r>
              <a:rPr kumimoji="0" lang="en-US" sz="1800" b="0" i="0" u="none" strike="noStrike" kern="1200" cap="none" spc="0" normalizeH="0" baseline="0" noProof="0" dirty="0">
                <a:ln w="3175">
                  <a:noFill/>
                </a:ln>
                <a:solidFill>
                  <a:srgbClr val="091F2C"/>
                </a:solidFill>
                <a:effectLst/>
                <a:uLnTx/>
                <a:uFillTx/>
                <a:latin typeface="Segoe Sans Display Semibold"/>
                <a:ea typeface="+mn-ea"/>
                <a:cs typeface="Segoe Sans Display" pitchFamily="2" charset="0"/>
              </a:rPr>
              <a:t> Partner</a:t>
            </a:r>
          </a:p>
        </p:txBody>
      </p:sp>
      <p:sp>
        <p:nvSpPr>
          <p:cNvPr id="25" name="TextBox 24">
            <a:extLst>
              <a:ext uri="{FF2B5EF4-FFF2-40B4-BE49-F238E27FC236}">
                <a16:creationId xmlns:a16="http://schemas.microsoft.com/office/drawing/2014/main" id="{78A00A89-6459-55A4-B658-87E2C13BCF08}"/>
              </a:ext>
            </a:extLst>
          </p:cNvPr>
          <p:cNvSpPr txBox="1"/>
          <p:nvPr/>
        </p:nvSpPr>
        <p:spPr>
          <a:xfrm>
            <a:off x="4841081" y="5283942"/>
            <a:ext cx="2512630" cy="73866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100000"/>
              </a:lnSpc>
              <a:spcBef>
                <a:spcPts val="300"/>
              </a:spcBef>
              <a:spcAft>
                <a:spcPts val="0"/>
              </a:spcAft>
              <a:buClrTx/>
              <a:buSzTx/>
              <a:buFontTx/>
              <a:buNone/>
              <a:tabLst>
                <a:tab pos="1371655" algn="l"/>
              </a:tabLst>
              <a:defRPr/>
            </a:pPr>
            <a:r>
              <a:rPr kumimoji="0" lang="en-US" sz="1600" b="0" i="0" u="none" strike="noStrike" kern="1200" cap="none" spc="0" normalizeH="0" baseline="0" noProof="0" dirty="0" err="1">
                <a:ln w="3175">
                  <a:noFill/>
                </a:ln>
                <a:solidFill>
                  <a:srgbClr val="091F2C"/>
                </a:solidFill>
                <a:effectLst/>
                <a:uLnTx/>
                <a:uFillTx/>
                <a:latin typeface="Segoe Sans Display"/>
                <a:ea typeface="+mn-ea"/>
                <a:cs typeface="Segoe Sans Display" pitchFamily="2" charset="0"/>
              </a:rPr>
              <a:t>Sviluppati</a:t>
            </a:r>
            <a:r>
              <a:rPr kumimoji="0" lang="en-US" sz="1600" b="0" i="0" u="none" strike="noStrike" kern="1200" cap="none" spc="0" normalizeH="0" baseline="0" noProof="0" dirty="0">
                <a:ln w="3175">
                  <a:noFill/>
                </a:ln>
                <a:solidFill>
                  <a:srgbClr val="091F2C"/>
                </a:solidFill>
                <a:effectLst/>
                <a:uLnTx/>
                <a:uFillTx/>
                <a:latin typeface="Segoe Sans Display"/>
                <a:ea typeface="+mn-ea"/>
                <a:cs typeface="Segoe Sans Display" pitchFamily="2" charset="0"/>
              </a:rPr>
              <a:t> da partner </a:t>
            </a:r>
            <a:r>
              <a:rPr kumimoji="0" lang="en-US" sz="1600" b="0" i="0" u="none" strike="noStrike" kern="1200" cap="none" spc="0" normalizeH="0" baseline="0" noProof="0" dirty="0" err="1">
                <a:ln w="3175">
                  <a:noFill/>
                </a:ln>
                <a:solidFill>
                  <a:srgbClr val="091F2C"/>
                </a:solidFill>
                <a:effectLst/>
                <a:uLnTx/>
                <a:uFillTx/>
                <a:latin typeface="Segoe Sans Display"/>
                <a:ea typeface="+mn-ea"/>
                <a:cs typeface="Segoe Sans Display" pitchFamily="2" charset="0"/>
              </a:rPr>
              <a:t>certificati</a:t>
            </a:r>
            <a:r>
              <a:rPr kumimoji="0" lang="en-US" sz="1600" b="0" i="0" u="none" strike="noStrike" kern="1200" cap="none" spc="0" normalizeH="0" baseline="0" noProof="0" dirty="0">
                <a:ln w="3175">
                  <a:noFill/>
                </a:ln>
                <a:solidFill>
                  <a:srgbClr val="091F2C"/>
                </a:solidFill>
                <a:effectLst/>
                <a:uLnTx/>
                <a:uFillTx/>
                <a:latin typeface="Segoe Sans Display"/>
                <a:ea typeface="+mn-ea"/>
                <a:cs typeface="Segoe Sans Display" pitchFamily="2" charset="0"/>
              </a:rPr>
              <a:t>, ed </a:t>
            </a:r>
            <a:r>
              <a:rPr kumimoji="0" lang="en-US" sz="1600" b="0" i="0" u="none" strike="noStrike" kern="1200" cap="none" spc="0" normalizeH="0" baseline="0" noProof="0" dirty="0" err="1">
                <a:ln w="3175">
                  <a:noFill/>
                </a:ln>
                <a:solidFill>
                  <a:srgbClr val="091F2C"/>
                </a:solidFill>
                <a:effectLst/>
                <a:uLnTx/>
                <a:uFillTx/>
                <a:latin typeface="Segoe Sans Display"/>
                <a:ea typeface="+mn-ea"/>
                <a:cs typeface="Segoe Sans Display" pitchFamily="2" charset="0"/>
              </a:rPr>
              <a:t>integrati</a:t>
            </a:r>
            <a:r>
              <a:rPr kumimoji="0" lang="en-US" sz="1600" b="0" i="0" u="none" strike="noStrike" kern="1200" cap="none" spc="0" normalizeH="0" baseline="0" noProof="0" dirty="0">
                <a:ln w="3175">
                  <a:noFill/>
                </a:ln>
                <a:solidFill>
                  <a:srgbClr val="091F2C"/>
                </a:solidFill>
                <a:effectLst/>
                <a:uLnTx/>
                <a:uFillTx/>
                <a:latin typeface="Segoe Sans Display"/>
                <a:ea typeface="+mn-ea"/>
                <a:cs typeface="Segoe Sans Display" pitchFamily="2" charset="0"/>
              </a:rPr>
              <a:t> </a:t>
            </a:r>
            <a:r>
              <a:rPr kumimoji="0" lang="en-US" sz="1600" b="0" i="0" u="none" strike="noStrike" kern="1200" cap="none" spc="0" normalizeH="0" baseline="0" noProof="0" dirty="0" err="1">
                <a:ln w="3175">
                  <a:noFill/>
                </a:ln>
                <a:solidFill>
                  <a:srgbClr val="091F2C"/>
                </a:solidFill>
                <a:effectLst/>
                <a:uLnTx/>
                <a:uFillTx/>
                <a:latin typeface="Segoe Sans Display"/>
                <a:ea typeface="+mn-ea"/>
                <a:cs typeface="Segoe Sans Display" pitchFamily="2" charset="0"/>
              </a:rPr>
              <a:t>direttamente</a:t>
            </a:r>
            <a:r>
              <a:rPr kumimoji="0" lang="en-US" sz="1600" b="0" i="0" u="none" strike="noStrike" kern="1200" cap="none" spc="0" normalizeH="0" baseline="0" noProof="0" dirty="0">
                <a:ln w="3175">
                  <a:noFill/>
                </a:ln>
                <a:solidFill>
                  <a:srgbClr val="091F2C"/>
                </a:solidFill>
                <a:effectLst/>
                <a:uLnTx/>
                <a:uFillTx/>
                <a:latin typeface="Segoe Sans Display"/>
                <a:ea typeface="+mn-ea"/>
                <a:cs typeface="Segoe Sans Display" pitchFamily="2" charset="0"/>
              </a:rPr>
              <a:t> con Copilot</a:t>
            </a:r>
          </a:p>
        </p:txBody>
      </p:sp>
      <p:sp>
        <p:nvSpPr>
          <p:cNvPr id="40" name="Rectangle: Rounded Corners 7">
            <a:extLst>
              <a:ext uri="{FF2B5EF4-FFF2-40B4-BE49-F238E27FC236}">
                <a16:creationId xmlns:a16="http://schemas.microsoft.com/office/drawing/2014/main" id="{B58C152C-9EDF-3509-1EF5-65EDA656B485}"/>
              </a:ext>
              <a:ext uri="{C183D7F6-B498-43B3-948B-1728B52AA6E4}">
                <adec:decorative xmlns:adec="http://schemas.microsoft.com/office/drawing/2017/decorative" val="0"/>
              </a:ext>
            </a:extLst>
          </p:cNvPr>
          <p:cNvSpPr>
            <a:spLocks noChangeAspect="1"/>
          </p:cNvSpPr>
          <p:nvPr/>
        </p:nvSpPr>
        <p:spPr bwMode="auto">
          <a:xfrm>
            <a:off x="9524267" y="1883328"/>
            <a:ext cx="491202" cy="491200"/>
          </a:xfrm>
          <a:prstGeom prst="ellipse">
            <a:avLst/>
          </a:prstGeom>
          <a:gradFill flip="none" rotWithShape="1">
            <a:gsLst>
              <a:gs pos="28000">
                <a:srgbClr val="8661C5"/>
              </a:gs>
              <a:gs pos="95000">
                <a:srgbClr val="F97483"/>
              </a:gs>
            </a:gsLst>
            <a:path path="circle">
              <a:fillToRect r="100000" b="100000"/>
            </a:path>
            <a:tileRect l="-100000" t="-100000"/>
          </a:gradFill>
          <a:ln w="63500" cap="flat">
            <a:solidFill>
              <a:schemeClr val="bg1"/>
            </a:solidFill>
            <a:round/>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71762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Sans Display Semibold"/>
                <a:ea typeface="+mn-ea"/>
                <a:cs typeface="+mn-cs"/>
              </a:rPr>
              <a:t>3</a:t>
            </a:r>
          </a:p>
        </p:txBody>
      </p:sp>
      <p:sp>
        <p:nvSpPr>
          <p:cNvPr id="69" name="Rectangle: Rounded Corners 17">
            <a:extLst>
              <a:ext uri="{FF2B5EF4-FFF2-40B4-BE49-F238E27FC236}">
                <a16:creationId xmlns:a16="http://schemas.microsoft.com/office/drawing/2014/main" id="{014C2B6A-EA8D-835C-07F7-6EFBCC8F6907}"/>
              </a:ext>
            </a:extLst>
          </p:cNvPr>
          <p:cNvSpPr/>
          <p:nvPr/>
        </p:nvSpPr>
        <p:spPr bwMode="auto">
          <a:xfrm>
            <a:off x="4389492"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70" name="Rectangle: Rounded Corners 17">
            <a:extLst>
              <a:ext uri="{FF2B5EF4-FFF2-40B4-BE49-F238E27FC236}">
                <a16:creationId xmlns:a16="http://schemas.microsoft.com/office/drawing/2014/main" id="{879285C3-30A6-C159-8BFE-9379CFFB4360}"/>
              </a:ext>
            </a:extLst>
          </p:cNvPr>
          <p:cNvSpPr/>
          <p:nvPr/>
        </p:nvSpPr>
        <p:spPr bwMode="auto">
          <a:xfrm>
            <a:off x="5560699"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71" name="Rectangle: Rounded Corners 17">
            <a:extLst>
              <a:ext uri="{FF2B5EF4-FFF2-40B4-BE49-F238E27FC236}">
                <a16:creationId xmlns:a16="http://schemas.microsoft.com/office/drawing/2014/main" id="{536F52EA-6E67-0EAC-DA99-925AD5EACF61}"/>
              </a:ext>
            </a:extLst>
          </p:cNvPr>
          <p:cNvSpPr/>
          <p:nvPr/>
        </p:nvSpPr>
        <p:spPr bwMode="auto">
          <a:xfrm>
            <a:off x="6731904"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84" name="TextBox 83">
            <a:extLst>
              <a:ext uri="{FF2B5EF4-FFF2-40B4-BE49-F238E27FC236}">
                <a16:creationId xmlns:a16="http://schemas.microsoft.com/office/drawing/2014/main" id="{15991745-D581-AFFA-D93C-FCAAFBEF0DBC}"/>
              </a:ext>
            </a:extLst>
          </p:cNvPr>
          <p:cNvSpPr txBox="1"/>
          <p:nvPr/>
        </p:nvSpPr>
        <p:spPr>
          <a:xfrm>
            <a:off x="4581830" y="4423163"/>
            <a:ext cx="692238" cy="14542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Jira Cloud</a:t>
            </a:r>
          </a:p>
        </p:txBody>
      </p:sp>
      <p:sp>
        <p:nvSpPr>
          <p:cNvPr id="85" name="TextBox 84">
            <a:extLst>
              <a:ext uri="{FF2B5EF4-FFF2-40B4-BE49-F238E27FC236}">
                <a16:creationId xmlns:a16="http://schemas.microsoft.com/office/drawing/2014/main" id="{3FB42CEE-12B6-7D0A-1318-8883334608CE}"/>
              </a:ext>
            </a:extLst>
          </p:cNvPr>
          <p:cNvSpPr txBox="1"/>
          <p:nvPr/>
        </p:nvSpPr>
        <p:spPr>
          <a:xfrm>
            <a:off x="5753037" y="4423163"/>
            <a:ext cx="692238" cy="14542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Asana</a:t>
            </a:r>
          </a:p>
        </p:txBody>
      </p:sp>
      <p:sp>
        <p:nvSpPr>
          <p:cNvPr id="86" name="TextBox 85">
            <a:extLst>
              <a:ext uri="{FF2B5EF4-FFF2-40B4-BE49-F238E27FC236}">
                <a16:creationId xmlns:a16="http://schemas.microsoft.com/office/drawing/2014/main" id="{2486E4F3-977B-45D5-59DE-A0F403F20D89}"/>
              </a:ext>
            </a:extLst>
          </p:cNvPr>
          <p:cNvSpPr txBox="1"/>
          <p:nvPr/>
        </p:nvSpPr>
        <p:spPr>
          <a:xfrm>
            <a:off x="6924242" y="4423163"/>
            <a:ext cx="692238" cy="290849"/>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Service Now</a:t>
            </a:r>
          </a:p>
        </p:txBody>
      </p:sp>
      <p:pic>
        <p:nvPicPr>
          <p:cNvPr id="97" name="Picture 96" descr="Asana orange logo thumbnail, tech companies, png | PNGEgg">
            <a:extLst>
              <a:ext uri="{FF2B5EF4-FFF2-40B4-BE49-F238E27FC236}">
                <a16:creationId xmlns:a16="http://schemas.microsoft.com/office/drawing/2014/main" id="{EFB172DD-4264-5C24-3AF5-39E378257E5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4000" b="97000" l="9483" r="91092">
                        <a14:foregroundMark x1="64943" y1="15667" x2="31609" y2="76667"/>
                        <a14:foregroundMark x1="31609" y1="76667" x2="52874" y2="77333"/>
                        <a14:foregroundMark x1="52874" y1="77333" x2="77874" y2="75667"/>
                        <a14:foregroundMark x1="77874" y1="75667" x2="84770" y2="52000"/>
                        <a14:foregroundMark x1="84770" y1="52000" x2="84195" y2="32667"/>
                        <a14:foregroundMark x1="84195" y1="32667" x2="49713" y2="8333"/>
                        <a14:foregroundMark x1="49713" y1="8333" x2="33333" y2="10000"/>
                        <a14:foregroundMark x1="33333" y1="10000" x2="11782" y2="44000"/>
                        <a14:foregroundMark x1="11782" y1="44000" x2="9483" y2="50000"/>
                        <a14:foregroundMark x1="45977" y1="50000" x2="42241" y2="56667"/>
                        <a14:foregroundMark x1="53736" y1="18667" x2="43966" y2="31333"/>
                        <a14:foregroundMark x1="55172" y1="23333" x2="52874" y2="25667"/>
                        <a14:foregroundMark x1="49713" y1="33000" x2="45402" y2="19667"/>
                        <a14:foregroundMark x1="64368" y1="45000" x2="45977" y2="43667"/>
                        <a14:foregroundMark x1="45977" y1="43667" x2="52586" y2="55000"/>
                        <a14:foregroundMark x1="62356" y1="49667" x2="60632" y2="56667"/>
                        <a14:foregroundMark x1="72989" y1="52667" x2="62356" y2="60333"/>
                        <a14:foregroundMark x1="71839" y1="53333" x2="54598" y2="46333"/>
                        <a14:foregroundMark x1="54598" y1="46333" x2="70690" y2="51333"/>
                        <a14:foregroundMark x1="70690" y1="51333" x2="72126" y2="47000"/>
                        <a14:foregroundMark x1="44540" y1="44333" x2="31609" y2="56667"/>
                        <a14:foregroundMark x1="31609" y1="56667" x2="44253" y2="45000"/>
                        <a14:foregroundMark x1="41379" y1="41333" x2="29598" y2="49333"/>
                        <a14:foregroundMark x1="32471" y1="70333" x2="29598" y2="78333"/>
                        <a14:foregroundMark x1="42241" y1="70667" x2="25862" y2="70333"/>
                        <a14:foregroundMark x1="53161" y1="70000" x2="52874" y2="73667"/>
                        <a14:foregroundMark x1="52299" y1="70667" x2="44253" y2="73333"/>
                        <a14:foregroundMark x1="39655" y1="69333" x2="39655" y2="69333"/>
                        <a14:foregroundMark x1="24138" y1="72667" x2="24138" y2="72667"/>
                        <a14:foregroundMark x1="25287" y1="76333" x2="25287" y2="76333"/>
                        <a14:foregroundMark x1="57471" y1="70333" x2="57471" y2="70333"/>
                        <a14:foregroundMark x1="60920" y1="70333" x2="60920" y2="70333"/>
                        <a14:foregroundMark x1="62644" y1="69667" x2="62644" y2="69667"/>
                        <a14:foregroundMark x1="68103" y1="72000" x2="68103" y2="72000"/>
                        <a14:foregroundMark x1="72989" y1="69000" x2="72989" y2="69000"/>
                        <a14:foregroundMark x1="68966" y1="13667" x2="68966" y2="13667"/>
                        <a14:foregroundMark x1="84195" y1="24000" x2="58046" y2="9333"/>
                        <a14:foregroundMark x1="37644" y1="93000" x2="60345" y2="93000"/>
                        <a14:foregroundMark x1="58046" y1="97000" x2="45690" y2="97000"/>
                        <a14:foregroundMark x1="91092" y1="40000" x2="91092" y2="60333"/>
                        <a14:foregroundMark x1="52586" y1="4000" x2="41092" y2="5000"/>
                        <a14:foregroundMark x1="54023" y1="48333" x2="60345" y2="56333"/>
                        <a14:foregroundMark x1="74713" y1="70333" x2="75862" y2="73667"/>
                        <a14:foregroundMark x1="76437" y1="77667" x2="70402" y2="77667"/>
                        <a14:foregroundMark x1="51149" y1="69333" x2="46264" y2="69333"/>
                        <a14:foregroundMark x1="37356" y1="72000" x2="37356" y2="72000"/>
                        <a14:foregroundMark x1="37644" y1="78000" x2="37644" y2="78000"/>
                      </a14:backgroundRemoval>
                    </a14:imgEffect>
                  </a14:imgLayer>
                </a14:imgProps>
              </a:ext>
            </a:extLst>
          </a:blip>
          <a:stretch>
            <a:fillRect/>
          </a:stretch>
        </p:blipFill>
        <p:spPr>
          <a:xfrm>
            <a:off x="5842316" y="3814999"/>
            <a:ext cx="513680" cy="442826"/>
          </a:xfrm>
          <a:prstGeom prst="rect">
            <a:avLst/>
          </a:prstGeom>
          <a:effectLst/>
        </p:spPr>
      </p:pic>
      <p:pic>
        <p:nvPicPr>
          <p:cNvPr id="98" name="Picture 97" descr="JIRA png images | PNGWing">
            <a:extLst>
              <a:ext uri="{FF2B5EF4-FFF2-40B4-BE49-F238E27FC236}">
                <a16:creationId xmlns:a16="http://schemas.microsoft.com/office/drawing/2014/main" id="{CFF07148-8C34-9C4D-2E70-3E0C2C485D46}"/>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9722" l="6389" r="91389">
                        <a14:foregroundMark x1="50833" y1="12500" x2="81389" y2="13611"/>
                        <a14:foregroundMark x1="81389" y1="13611" x2="90556" y2="34167"/>
                        <a14:foregroundMark x1="90556" y1="34167" x2="91389" y2="48611"/>
                        <a14:foregroundMark x1="69236" y1="30278" x2="51111" y2="15278"/>
                        <a14:foregroundMark x1="69572" y1="30556" x2="69236" y2="30278"/>
                        <a14:foregroundMark x1="70579" y1="31389" x2="70338" y2="31190"/>
                        <a14:foregroundMark x1="70915" y1="31667" x2="70579" y2="31389"/>
                        <a14:foregroundMark x1="71249" y1="31944" x2="70915" y2="31667"/>
                        <a14:foregroundMark x1="71585" y1="32222" x2="71249" y2="31944"/>
                        <a14:foregroundMark x1="72257" y1="32778" x2="71585" y2="32222"/>
                        <a14:foregroundMark x1="72593" y1="33056" x2="72257" y2="32778"/>
                        <a14:foregroundMark x1="73193" y1="33553" x2="72593" y2="33056"/>
                        <a14:foregroundMark x1="74271" y1="34444" x2="73558" y2="33854"/>
                        <a14:foregroundMark x1="74607" y1="34722" x2="74271" y2="34444"/>
                        <a14:foregroundMark x1="74943" y1="35000" x2="74607" y2="34722"/>
                        <a14:foregroundMark x1="75279" y1="35278" x2="74943" y2="35000"/>
                        <a14:foregroundMark x1="75615" y1="35556" x2="75279" y2="35278"/>
                        <a14:foregroundMark x1="91389" y1="48611" x2="75615" y2="35556"/>
                        <a14:foregroundMark x1="51111" y1="15278" x2="50833" y2="12500"/>
                        <a14:foregroundMark x1="9722" y1="55278" x2="46111" y2="57500"/>
                        <a14:foregroundMark x1="46111" y1="57500" x2="46944" y2="90278"/>
                        <a14:foregroundMark x1="46944" y1="90278" x2="38056" y2="75278"/>
                        <a14:foregroundMark x1="38056" y1="75278" x2="9167" y2="59444"/>
                        <a14:foregroundMark x1="9167" y1="59444" x2="9167" y2="55833"/>
                        <a14:foregroundMark x1="47778" y1="96389" x2="47778" y2="96389"/>
                        <a14:foregroundMark x1="6389" y1="55000" x2="6389" y2="55000"/>
                        <a14:foregroundMark x1="50556" y1="99722" x2="50556" y2="99722"/>
                        <a14:backgroundMark x1="73333" y1="31667" x2="73333" y2="31667"/>
                        <a14:backgroundMark x1="69167" y1="31111" x2="69167" y2="31111"/>
                        <a14:backgroundMark x1="71389" y1="31111" x2="71389" y2="31111"/>
                        <a14:backgroundMark x1="70278" y1="31111" x2="70278" y2="31111"/>
                        <a14:backgroundMark x1="73333" y1="33333" x2="73889" y2="33333"/>
                        <a14:backgroundMark x1="73889" y1="34444" x2="73889" y2="34444"/>
                        <a14:backgroundMark x1="74722" y1="34444" x2="74722" y2="34444"/>
                        <a14:backgroundMark x1="73056" y1="33889" x2="73056" y2="33889"/>
                        <a14:backgroundMark x1="72500" y1="33056" x2="72500" y2="33056"/>
                        <a14:backgroundMark x1="71667" y1="33056" x2="71667" y2="33056"/>
                        <a14:backgroundMark x1="70556" y1="32222" x2="70556" y2="32222"/>
                        <a14:backgroundMark x1="72500" y1="32222" x2="72500" y2="32222"/>
                        <a14:backgroundMark x1="71944" y1="32222" x2="71944" y2="32222"/>
                        <a14:backgroundMark x1="68889" y1="30556" x2="68889" y2="30556"/>
                        <a14:backgroundMark x1="69444" y1="30556" x2="70000" y2="31389"/>
                        <a14:backgroundMark x1="71111" y1="31389" x2="71111" y2="31389"/>
                        <a14:backgroundMark x1="70278" y1="31389" x2="70278" y2="31389"/>
                        <a14:backgroundMark x1="70000" y1="30833" x2="70000" y2="30833"/>
                        <a14:backgroundMark x1="69167" y1="30278" x2="69167" y2="30278"/>
                        <a14:backgroundMark x1="68611" y1="30278" x2="68611" y2="30278"/>
                        <a14:backgroundMark x1="72222" y1="32778" x2="72222" y2="32778"/>
                        <a14:backgroundMark x1="72778" y1="32778" x2="72778" y2="32778"/>
                        <a14:backgroundMark x1="71111" y1="31944" x2="71111" y2="31944"/>
                        <a14:backgroundMark x1="74722" y1="35000" x2="74722" y2="35000"/>
                        <a14:backgroundMark x1="75278" y1="34722" x2="75278" y2="34722"/>
                        <a14:backgroundMark x1="75278" y1="35000" x2="75278" y2="35000"/>
                        <a14:backgroundMark x1="75278" y1="35556" x2="75278" y2="35556"/>
                        <a14:backgroundMark x1="75000" y1="35278" x2="75000" y2="35278"/>
                        <a14:backgroundMark x1="73889" y1="33611" x2="73889" y2="33611"/>
                        <a14:backgroundMark x1="71667" y1="31389" x2="71667" y2="31389"/>
                        <a14:backgroundMark x1="71667" y1="32222" x2="71667" y2="32222"/>
                      </a14:backgroundRemoval>
                    </a14:imgEffect>
                  </a14:imgLayer>
                </a14:imgProps>
              </a:ext>
            </a:extLst>
          </a:blip>
          <a:stretch>
            <a:fillRect/>
          </a:stretch>
        </p:blipFill>
        <p:spPr>
          <a:xfrm>
            <a:off x="4715203" y="3832333"/>
            <a:ext cx="425492" cy="425492"/>
          </a:xfrm>
          <a:prstGeom prst="rect">
            <a:avLst/>
          </a:prstGeom>
          <a:effectLst/>
        </p:spPr>
      </p:pic>
      <p:pic>
        <p:nvPicPr>
          <p:cNvPr id="99" name="Picture 98" descr="Servicenow logo - Social media &amp; Logos Icons">
            <a:extLst>
              <a:ext uri="{FF2B5EF4-FFF2-40B4-BE49-F238E27FC236}">
                <a16:creationId xmlns:a16="http://schemas.microsoft.com/office/drawing/2014/main" id="{1F0440F1-DC98-799D-DE0D-77194254AF4D}"/>
              </a:ext>
            </a:extLst>
          </p:cNvPr>
          <p:cNvPicPr>
            <a:picLocks noChangeAspect="1"/>
          </p:cNvPicPr>
          <p:nvPr/>
        </p:nvPicPr>
        <p:blipFill>
          <a:blip r:embed="rId7"/>
          <a:stretch>
            <a:fillRect/>
          </a:stretch>
        </p:blipFill>
        <p:spPr>
          <a:xfrm>
            <a:off x="7020905" y="3758913"/>
            <a:ext cx="498912" cy="498912"/>
          </a:xfrm>
          <a:prstGeom prst="rect">
            <a:avLst/>
          </a:prstGeom>
          <a:effectLst/>
        </p:spPr>
      </p:pic>
      <p:sp>
        <p:nvSpPr>
          <p:cNvPr id="39" name="Rectangle: Rounded Corners 7">
            <a:extLst>
              <a:ext uri="{FF2B5EF4-FFF2-40B4-BE49-F238E27FC236}">
                <a16:creationId xmlns:a16="http://schemas.microsoft.com/office/drawing/2014/main" id="{12B8C525-0DE2-E307-47DF-3A6D44042CA4}"/>
              </a:ext>
              <a:ext uri="{C183D7F6-B498-43B3-948B-1728B52AA6E4}">
                <adec:decorative xmlns:adec="http://schemas.microsoft.com/office/drawing/2017/decorative" val="0"/>
              </a:ext>
            </a:extLst>
          </p:cNvPr>
          <p:cNvSpPr>
            <a:spLocks noChangeAspect="1"/>
          </p:cNvSpPr>
          <p:nvPr/>
        </p:nvSpPr>
        <p:spPr bwMode="auto">
          <a:xfrm>
            <a:off x="5878530" y="1883328"/>
            <a:ext cx="491202" cy="491200"/>
          </a:xfrm>
          <a:prstGeom prst="ellipse">
            <a:avLst/>
          </a:prstGeom>
          <a:gradFill flip="none" rotWithShape="1">
            <a:gsLst>
              <a:gs pos="7000">
                <a:schemeClr val="accent1"/>
              </a:gs>
              <a:gs pos="60000">
                <a:srgbClr val="8661C5"/>
              </a:gs>
            </a:gsLst>
            <a:path path="circle">
              <a:fillToRect r="100000" b="100000"/>
            </a:path>
            <a:tileRect l="-100000" t="-100000"/>
          </a:gradFill>
          <a:ln w="63500" cap="flat">
            <a:solidFill>
              <a:schemeClr val="bg1"/>
            </a:solidFill>
            <a:round/>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71762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Sans Display Semibold"/>
                <a:ea typeface="+mn-ea"/>
                <a:cs typeface="+mn-cs"/>
              </a:rPr>
              <a:t>2</a:t>
            </a:r>
          </a:p>
        </p:txBody>
      </p:sp>
      <p:sp>
        <p:nvSpPr>
          <p:cNvPr id="115" name="Rectangle: Rounded Corners 17">
            <a:extLst>
              <a:ext uri="{FF2B5EF4-FFF2-40B4-BE49-F238E27FC236}">
                <a16:creationId xmlns:a16="http://schemas.microsoft.com/office/drawing/2014/main" id="{034BFFB3-9464-D629-C77C-0886DE628AE7}"/>
              </a:ext>
            </a:extLst>
          </p:cNvPr>
          <p:cNvSpPr/>
          <p:nvPr/>
        </p:nvSpPr>
        <p:spPr bwMode="auto">
          <a:xfrm>
            <a:off x="772248"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116" name="Rectangle: Rounded Corners 17">
            <a:extLst>
              <a:ext uri="{FF2B5EF4-FFF2-40B4-BE49-F238E27FC236}">
                <a16:creationId xmlns:a16="http://schemas.microsoft.com/office/drawing/2014/main" id="{3BD0BDFC-0725-CEDC-55E8-A26F338E4BD9}"/>
              </a:ext>
            </a:extLst>
          </p:cNvPr>
          <p:cNvSpPr/>
          <p:nvPr/>
        </p:nvSpPr>
        <p:spPr bwMode="auto">
          <a:xfrm>
            <a:off x="1943455"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119" name="Rectangle: Rounded Corners 17">
            <a:extLst>
              <a:ext uri="{FF2B5EF4-FFF2-40B4-BE49-F238E27FC236}">
                <a16:creationId xmlns:a16="http://schemas.microsoft.com/office/drawing/2014/main" id="{F328513E-4484-1F52-77DA-074AE0182E89}"/>
              </a:ext>
            </a:extLst>
          </p:cNvPr>
          <p:cNvSpPr/>
          <p:nvPr/>
        </p:nvSpPr>
        <p:spPr bwMode="auto">
          <a:xfrm>
            <a:off x="3114660"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125" name="TextBox 124">
            <a:extLst>
              <a:ext uri="{FF2B5EF4-FFF2-40B4-BE49-F238E27FC236}">
                <a16:creationId xmlns:a16="http://schemas.microsoft.com/office/drawing/2014/main" id="{724D81A4-433A-E53D-12A2-E915870D0F53}"/>
              </a:ext>
            </a:extLst>
          </p:cNvPr>
          <p:cNvSpPr txBox="1"/>
          <p:nvPr/>
        </p:nvSpPr>
        <p:spPr>
          <a:xfrm>
            <a:off x="2135793" y="4423163"/>
            <a:ext cx="692238" cy="14542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dirty="0">
                <a:ln w="3175">
                  <a:noFill/>
                </a:ln>
                <a:solidFill>
                  <a:srgbClr val="091F2C"/>
                </a:solidFill>
                <a:effectLst/>
                <a:uLnTx/>
                <a:uFillTx/>
                <a:latin typeface="Segoe Sans Display"/>
                <a:ea typeface="+mn-ea"/>
                <a:cs typeface="Segoe Sans Display" pitchFamily="2" charset="0"/>
              </a:rPr>
              <a:t>Facilitator</a:t>
            </a:r>
          </a:p>
        </p:txBody>
      </p:sp>
      <p:sp>
        <p:nvSpPr>
          <p:cNvPr id="129" name="TextBox 128">
            <a:extLst>
              <a:ext uri="{FF2B5EF4-FFF2-40B4-BE49-F238E27FC236}">
                <a16:creationId xmlns:a16="http://schemas.microsoft.com/office/drawing/2014/main" id="{669F9C8F-0334-CCA6-129A-6846A36E725A}"/>
              </a:ext>
            </a:extLst>
          </p:cNvPr>
          <p:cNvSpPr txBox="1"/>
          <p:nvPr/>
        </p:nvSpPr>
        <p:spPr>
          <a:xfrm>
            <a:off x="964586" y="4423163"/>
            <a:ext cx="692238" cy="14542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dirty="0">
                <a:ln w="3175">
                  <a:noFill/>
                </a:ln>
                <a:solidFill>
                  <a:srgbClr val="091F2C"/>
                </a:solidFill>
                <a:effectLst/>
                <a:uLnTx/>
                <a:uFillTx/>
                <a:latin typeface="Segoe Sans Display"/>
                <a:ea typeface="+mn-ea"/>
                <a:cs typeface="Segoe Sans Display" pitchFamily="2" charset="0"/>
              </a:rPr>
              <a:t>Researcher</a:t>
            </a:r>
          </a:p>
        </p:txBody>
      </p:sp>
      <p:sp>
        <p:nvSpPr>
          <p:cNvPr id="130" name="TextBox 129">
            <a:extLst>
              <a:ext uri="{FF2B5EF4-FFF2-40B4-BE49-F238E27FC236}">
                <a16:creationId xmlns:a16="http://schemas.microsoft.com/office/drawing/2014/main" id="{81F6F094-EEB3-4AFF-316D-4E3D4B7296A3}"/>
              </a:ext>
            </a:extLst>
          </p:cNvPr>
          <p:cNvSpPr txBox="1"/>
          <p:nvPr/>
        </p:nvSpPr>
        <p:spPr>
          <a:xfrm>
            <a:off x="3290454" y="4423163"/>
            <a:ext cx="725326" cy="14542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D365</a:t>
            </a:r>
          </a:p>
        </p:txBody>
      </p:sp>
      <p:pic>
        <p:nvPicPr>
          <p:cNvPr id="118" name="Picture 2" descr="Microsoft Dynamics 365 | D365 Implementation Partner | TrellisPoint">
            <a:extLst>
              <a:ext uri="{FF2B5EF4-FFF2-40B4-BE49-F238E27FC236}">
                <a16:creationId xmlns:a16="http://schemas.microsoft.com/office/drawing/2014/main" id="{B6187233-842A-2C52-5C5D-09B94F198C2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42067" y="3799965"/>
            <a:ext cx="422100" cy="4221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D237A5C5-EED7-D3A3-8B60-6EE97BB27121}"/>
              </a:ext>
            </a:extLst>
          </p:cNvPr>
          <p:cNvPicPr>
            <a:picLocks noChangeAspect="1"/>
          </p:cNvPicPr>
          <p:nvPr/>
        </p:nvPicPr>
        <p:blipFill>
          <a:blip r:embed="rId9"/>
          <a:stretch>
            <a:fillRect/>
          </a:stretch>
        </p:blipFill>
        <p:spPr>
          <a:xfrm>
            <a:off x="1082105" y="3782415"/>
            <a:ext cx="457200" cy="457200"/>
          </a:xfrm>
          <a:prstGeom prst="rect">
            <a:avLst/>
          </a:prstGeom>
        </p:spPr>
      </p:pic>
      <p:pic>
        <p:nvPicPr>
          <p:cNvPr id="148" name="Picture 147">
            <a:extLst>
              <a:ext uri="{FF2B5EF4-FFF2-40B4-BE49-F238E27FC236}">
                <a16:creationId xmlns:a16="http://schemas.microsoft.com/office/drawing/2014/main" id="{F1800CF2-776E-DF0A-8BC5-0EA0A9771513}"/>
              </a:ext>
            </a:extLst>
          </p:cNvPr>
          <p:cNvPicPr>
            <a:picLocks noChangeAspect="1"/>
          </p:cNvPicPr>
          <p:nvPr/>
        </p:nvPicPr>
        <p:blipFill>
          <a:blip r:embed="rId10"/>
          <a:stretch>
            <a:fillRect/>
          </a:stretch>
        </p:blipFill>
        <p:spPr>
          <a:xfrm>
            <a:off x="2270862" y="3799965"/>
            <a:ext cx="422100" cy="422100"/>
          </a:xfrm>
          <a:prstGeom prst="rect">
            <a:avLst/>
          </a:prstGeom>
        </p:spPr>
      </p:pic>
      <p:sp>
        <p:nvSpPr>
          <p:cNvPr id="2" name="Rectangle: Rounded Corners 17">
            <a:extLst>
              <a:ext uri="{FF2B5EF4-FFF2-40B4-BE49-F238E27FC236}">
                <a16:creationId xmlns:a16="http://schemas.microsoft.com/office/drawing/2014/main" id="{211FBE5F-A220-1A4A-E2B1-1997B3DDCE52}"/>
              </a:ext>
            </a:extLst>
          </p:cNvPr>
          <p:cNvSpPr/>
          <p:nvPr/>
        </p:nvSpPr>
        <p:spPr bwMode="auto">
          <a:xfrm>
            <a:off x="8042185"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grpSp>
        <p:nvGrpSpPr>
          <p:cNvPr id="3" name="Group 2">
            <a:extLst>
              <a:ext uri="{FF2B5EF4-FFF2-40B4-BE49-F238E27FC236}">
                <a16:creationId xmlns:a16="http://schemas.microsoft.com/office/drawing/2014/main" id="{D25035DC-D4D9-1752-3705-80A22F6E3616}"/>
              </a:ext>
            </a:extLst>
          </p:cNvPr>
          <p:cNvGrpSpPr/>
          <p:nvPr/>
        </p:nvGrpSpPr>
        <p:grpSpPr>
          <a:xfrm>
            <a:off x="8286420" y="3675350"/>
            <a:ext cx="588445" cy="582475"/>
            <a:chOff x="5386385" y="3033312"/>
            <a:chExt cx="588445" cy="582475"/>
          </a:xfrm>
        </p:grpSpPr>
        <p:pic>
          <p:nvPicPr>
            <p:cNvPr id="5" name="Graphic 60">
              <a:extLst>
                <a:ext uri="{FF2B5EF4-FFF2-40B4-BE49-F238E27FC236}">
                  <a16:creationId xmlns:a16="http://schemas.microsoft.com/office/drawing/2014/main" id="{6F3DA4C3-03E2-C681-DFF0-D6BC9D67E56D}"/>
                </a:ext>
              </a:extLst>
            </p:cNvPr>
            <p:cNvPicPr>
              <a:picLocks noChangeAspect="1"/>
            </p:cNvPicPr>
            <p:nvPr/>
          </p:nvPicPr>
          <p:blipFill>
            <a:blip r:embed="rId11"/>
            <a:srcRect/>
            <a:stretch/>
          </p:blipFill>
          <p:spPr>
            <a:xfrm>
              <a:off x="5386385" y="3033312"/>
              <a:ext cx="298529" cy="301469"/>
            </a:xfrm>
            <a:prstGeom prst="rect">
              <a:avLst/>
            </a:prstGeom>
            <a:effectLst>
              <a:outerShdw blurRad="152400" dist="50800" dir="5400000" algn="ctr" rotWithShape="0">
                <a:srgbClr val="000000">
                  <a:alpha val="15000"/>
                </a:srgbClr>
              </a:outerShdw>
            </a:effectLst>
          </p:spPr>
        </p:pic>
        <p:pic>
          <p:nvPicPr>
            <p:cNvPr id="6" name="Picture 5">
              <a:extLst>
                <a:ext uri="{FF2B5EF4-FFF2-40B4-BE49-F238E27FC236}">
                  <a16:creationId xmlns:a16="http://schemas.microsoft.com/office/drawing/2014/main" id="{6E97364D-1ACF-7048-CDD6-14890B3B4CD2}"/>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669112" y="3310069"/>
              <a:ext cx="305718" cy="305718"/>
            </a:xfrm>
            <a:prstGeom prst="rect">
              <a:avLst/>
            </a:prstGeom>
          </p:spPr>
        </p:pic>
        <p:sp>
          <p:nvSpPr>
            <p:cNvPr id="7" name="TextBox 6">
              <a:extLst>
                <a:ext uri="{FF2B5EF4-FFF2-40B4-BE49-F238E27FC236}">
                  <a16:creationId xmlns:a16="http://schemas.microsoft.com/office/drawing/2014/main" id="{4DDF6220-BD93-86CC-6117-9A835A2379E0}"/>
                </a:ext>
              </a:extLst>
            </p:cNvPr>
            <p:cNvSpPr txBox="1"/>
            <p:nvPr/>
          </p:nvSpPr>
          <p:spPr>
            <a:xfrm>
              <a:off x="5566298" y="3230547"/>
              <a:ext cx="271625" cy="161583"/>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a:t>
              </a:r>
            </a:p>
          </p:txBody>
        </p:sp>
      </p:grpSp>
      <p:sp>
        <p:nvSpPr>
          <p:cNvPr id="13" name="TextBox 12">
            <a:extLst>
              <a:ext uri="{FF2B5EF4-FFF2-40B4-BE49-F238E27FC236}">
                <a16:creationId xmlns:a16="http://schemas.microsoft.com/office/drawing/2014/main" id="{BDD0BD11-116A-5BBC-2496-F857CA4237E1}"/>
              </a:ext>
            </a:extLst>
          </p:cNvPr>
          <p:cNvSpPr txBox="1"/>
          <p:nvPr/>
        </p:nvSpPr>
        <p:spPr>
          <a:xfrm>
            <a:off x="8682785" y="2615011"/>
            <a:ext cx="2197900" cy="249299"/>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800" b="0" i="0" u="none" strike="noStrike" kern="1200" cap="none" spc="0" normalizeH="0" baseline="0" noProof="0" dirty="0" err="1">
                <a:ln w="3175">
                  <a:noFill/>
                </a:ln>
                <a:solidFill>
                  <a:srgbClr val="091F2C"/>
                </a:solidFill>
                <a:effectLst/>
                <a:uLnTx/>
                <a:uFillTx/>
                <a:latin typeface="Segoe Sans Display Semibold"/>
                <a:ea typeface="+mn-ea"/>
                <a:cs typeface="Segoe Sans Display" pitchFamily="2" charset="0"/>
              </a:rPr>
              <a:t>Agenti</a:t>
            </a:r>
            <a:r>
              <a:rPr kumimoji="0" lang="en-US" sz="1800" b="0" i="0" u="none" strike="noStrike" kern="1200" cap="none" spc="0" normalizeH="0" baseline="0" noProof="0" dirty="0">
                <a:ln w="3175">
                  <a:noFill/>
                </a:ln>
                <a:solidFill>
                  <a:srgbClr val="091F2C"/>
                </a:solidFill>
                <a:effectLst/>
                <a:uLnTx/>
                <a:uFillTx/>
                <a:latin typeface="Segoe Sans Display Semibold"/>
                <a:ea typeface="+mn-ea"/>
                <a:cs typeface="Segoe Sans Display" pitchFamily="2" charset="0"/>
              </a:rPr>
              <a:t> custom</a:t>
            </a:r>
          </a:p>
        </p:txBody>
      </p:sp>
      <p:sp>
        <p:nvSpPr>
          <p:cNvPr id="14" name="TextBox 13">
            <a:extLst>
              <a:ext uri="{FF2B5EF4-FFF2-40B4-BE49-F238E27FC236}">
                <a16:creationId xmlns:a16="http://schemas.microsoft.com/office/drawing/2014/main" id="{70CCEC87-D476-0F15-D595-3950A95FD4A6}"/>
              </a:ext>
            </a:extLst>
          </p:cNvPr>
          <p:cNvSpPr txBox="1"/>
          <p:nvPr/>
        </p:nvSpPr>
        <p:spPr>
          <a:xfrm>
            <a:off x="8493774" y="5283942"/>
            <a:ext cx="2512630" cy="73866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100000"/>
              </a:lnSpc>
              <a:spcBef>
                <a:spcPts val="300"/>
              </a:spcBef>
              <a:spcAft>
                <a:spcPts val="0"/>
              </a:spcAft>
              <a:buClrTx/>
              <a:buSzTx/>
              <a:buFontTx/>
              <a:buNone/>
              <a:tabLst>
                <a:tab pos="1371655" algn="l"/>
              </a:tabLst>
              <a:defRPr/>
            </a:pPr>
            <a:r>
              <a:rPr kumimoji="0" lang="en-US" sz="1600" b="0" i="0" u="none" strike="noStrike" kern="1200" cap="none" spc="0" normalizeH="0" baseline="0" noProof="0" dirty="0" err="1">
                <a:ln w="3175">
                  <a:noFill/>
                </a:ln>
                <a:solidFill>
                  <a:srgbClr val="091F2C"/>
                </a:solidFill>
                <a:effectLst/>
                <a:uLnTx/>
                <a:uFillTx/>
                <a:latin typeface="Segoe Sans Display"/>
                <a:ea typeface="+mn-ea"/>
                <a:cs typeface="Segoe Sans Display" pitchFamily="2" charset="0"/>
              </a:rPr>
              <a:t>Agenti</a:t>
            </a:r>
            <a:r>
              <a:rPr kumimoji="0" lang="en-US" sz="1600" b="0" i="0" u="none" strike="noStrike" kern="1200" cap="none" spc="0" normalizeH="0" baseline="0" noProof="0" dirty="0">
                <a:ln w="3175">
                  <a:noFill/>
                </a:ln>
                <a:solidFill>
                  <a:srgbClr val="091F2C"/>
                </a:solidFill>
                <a:effectLst/>
                <a:uLnTx/>
                <a:uFillTx/>
                <a:latin typeface="Segoe Sans Display"/>
                <a:ea typeface="+mn-ea"/>
                <a:cs typeface="Segoe Sans Display" pitchFamily="2" charset="0"/>
              </a:rPr>
              <a:t> </a:t>
            </a:r>
            <a:r>
              <a:rPr kumimoji="0" lang="en-US" sz="1600" b="0" i="0" u="none" strike="noStrike" kern="1200" cap="none" spc="0" normalizeH="0" baseline="0" noProof="0" dirty="0" err="1">
                <a:ln w="3175">
                  <a:noFill/>
                </a:ln>
                <a:solidFill>
                  <a:srgbClr val="091F2C"/>
                </a:solidFill>
                <a:effectLst/>
                <a:uLnTx/>
                <a:uFillTx/>
                <a:latin typeface="Segoe Sans Display"/>
                <a:ea typeface="+mn-ea"/>
                <a:cs typeface="Segoe Sans Display" pitchFamily="2" charset="0"/>
              </a:rPr>
              <a:t>sviluppati</a:t>
            </a:r>
            <a:r>
              <a:rPr kumimoji="0" lang="en-US" sz="1600" b="0" i="0" u="none" strike="noStrike" kern="1200" cap="none" spc="0" normalizeH="0" baseline="0" noProof="0" dirty="0">
                <a:ln w="3175">
                  <a:noFill/>
                </a:ln>
                <a:solidFill>
                  <a:srgbClr val="091F2C"/>
                </a:solidFill>
                <a:effectLst/>
                <a:uLnTx/>
                <a:uFillTx/>
                <a:latin typeface="Segoe Sans Display"/>
                <a:ea typeface="+mn-ea"/>
                <a:cs typeface="Segoe Sans Display" pitchFamily="2" charset="0"/>
              </a:rPr>
              <a:t> </a:t>
            </a:r>
            <a:r>
              <a:rPr kumimoji="0" lang="en-US" sz="1600" b="0" i="0" u="none" strike="noStrike" kern="1200" cap="none" spc="0" normalizeH="0" baseline="0" noProof="0" dirty="0" err="1">
                <a:ln w="3175">
                  <a:noFill/>
                </a:ln>
                <a:solidFill>
                  <a:srgbClr val="091F2C"/>
                </a:solidFill>
                <a:effectLst/>
                <a:uLnTx/>
                <a:uFillTx/>
                <a:latin typeface="Segoe Sans Display"/>
                <a:ea typeface="+mn-ea"/>
                <a:cs typeface="Segoe Sans Display" pitchFamily="2" charset="0"/>
              </a:rPr>
              <a:t>internamente</a:t>
            </a:r>
            <a:r>
              <a:rPr kumimoji="0" lang="en-US" sz="1600" b="0" i="0" u="none" strike="noStrike" kern="1200" cap="none" spc="0" normalizeH="0" baseline="0" noProof="0" dirty="0">
                <a:ln w="3175">
                  <a:noFill/>
                </a:ln>
                <a:solidFill>
                  <a:srgbClr val="091F2C"/>
                </a:solidFill>
                <a:effectLst/>
                <a:uLnTx/>
                <a:uFillTx/>
                <a:latin typeface="Segoe Sans Display"/>
                <a:ea typeface="+mn-ea"/>
                <a:cs typeface="Segoe Sans Display" pitchFamily="2" charset="0"/>
              </a:rPr>
              <a:t> per le </a:t>
            </a:r>
            <a:r>
              <a:rPr kumimoji="0" lang="en-US" sz="1600" b="0" i="0" u="none" strike="noStrike" kern="1200" cap="none" spc="0" normalizeH="0" baseline="0" noProof="0" dirty="0" err="1">
                <a:ln w="3175">
                  <a:noFill/>
                </a:ln>
                <a:solidFill>
                  <a:srgbClr val="091F2C"/>
                </a:solidFill>
                <a:effectLst/>
                <a:uLnTx/>
                <a:uFillTx/>
                <a:latin typeface="Segoe Sans Display"/>
                <a:ea typeface="+mn-ea"/>
                <a:cs typeface="Segoe Sans Display" pitchFamily="2" charset="0"/>
              </a:rPr>
              <a:t>proprie</a:t>
            </a:r>
            <a:r>
              <a:rPr kumimoji="0" lang="en-US" sz="1600" b="0" i="0" u="none" strike="noStrike" kern="1200" cap="none" spc="0" normalizeH="0" baseline="0" noProof="0" dirty="0">
                <a:ln w="3175">
                  <a:noFill/>
                </a:ln>
                <a:solidFill>
                  <a:srgbClr val="091F2C"/>
                </a:solidFill>
                <a:effectLst/>
                <a:uLnTx/>
                <a:uFillTx/>
                <a:latin typeface="Segoe Sans Display"/>
                <a:ea typeface="+mn-ea"/>
                <a:cs typeface="Segoe Sans Display" pitchFamily="2" charset="0"/>
              </a:rPr>
              <a:t> </a:t>
            </a:r>
            <a:r>
              <a:rPr kumimoji="0" lang="en-US" sz="1600" b="0" i="0" u="none" strike="noStrike" kern="1200" cap="none" spc="0" normalizeH="0" baseline="0" noProof="0" dirty="0" err="1">
                <a:ln w="3175">
                  <a:noFill/>
                </a:ln>
                <a:solidFill>
                  <a:srgbClr val="091F2C"/>
                </a:solidFill>
                <a:effectLst/>
                <a:uLnTx/>
                <a:uFillTx/>
                <a:latin typeface="Segoe Sans Display"/>
                <a:ea typeface="+mn-ea"/>
                <a:cs typeface="Segoe Sans Display" pitchFamily="2" charset="0"/>
              </a:rPr>
              <a:t>esigenze</a:t>
            </a:r>
            <a:r>
              <a:rPr kumimoji="0" lang="en-US" sz="1600" b="0" i="0" u="none" strike="noStrike" kern="1200" cap="none" spc="0" normalizeH="0" baseline="0" noProof="0" dirty="0">
                <a:ln w="3175">
                  <a:noFill/>
                </a:ln>
                <a:solidFill>
                  <a:srgbClr val="091F2C"/>
                </a:solidFill>
                <a:effectLst/>
                <a:uLnTx/>
                <a:uFillTx/>
                <a:latin typeface="Segoe Sans Display"/>
                <a:ea typeface="+mn-ea"/>
                <a:cs typeface="Segoe Sans Display" pitchFamily="2" charset="0"/>
              </a:rPr>
              <a:t> di business</a:t>
            </a:r>
          </a:p>
        </p:txBody>
      </p:sp>
      <p:sp>
        <p:nvSpPr>
          <p:cNvPr id="15" name="Rectangle: Rounded Corners 17">
            <a:extLst>
              <a:ext uri="{FF2B5EF4-FFF2-40B4-BE49-F238E27FC236}">
                <a16:creationId xmlns:a16="http://schemas.microsoft.com/office/drawing/2014/main" id="{360B6EAE-51D0-FD13-F79E-09C00E8A649C}"/>
              </a:ext>
            </a:extLst>
          </p:cNvPr>
          <p:cNvSpPr/>
          <p:nvPr/>
        </p:nvSpPr>
        <p:spPr bwMode="auto">
          <a:xfrm>
            <a:off x="9213392"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17" name="Rectangle: Rounded Corners 17">
            <a:extLst>
              <a:ext uri="{FF2B5EF4-FFF2-40B4-BE49-F238E27FC236}">
                <a16:creationId xmlns:a16="http://schemas.microsoft.com/office/drawing/2014/main" id="{E8A0B822-081E-39E7-16F1-D4EE0DB76372}"/>
              </a:ext>
            </a:extLst>
          </p:cNvPr>
          <p:cNvSpPr/>
          <p:nvPr/>
        </p:nvSpPr>
        <p:spPr bwMode="auto">
          <a:xfrm>
            <a:off x="10384597"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19" name="TextBox 18">
            <a:extLst>
              <a:ext uri="{FF2B5EF4-FFF2-40B4-BE49-F238E27FC236}">
                <a16:creationId xmlns:a16="http://schemas.microsoft.com/office/drawing/2014/main" id="{33A6A4FC-71C1-93E2-85EE-0BBCFCD0A2D3}"/>
              </a:ext>
            </a:extLst>
          </p:cNvPr>
          <p:cNvSpPr txBox="1"/>
          <p:nvPr/>
        </p:nvSpPr>
        <p:spPr>
          <a:xfrm>
            <a:off x="9405730" y="4423163"/>
            <a:ext cx="692238" cy="436273"/>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Automated Contract Review</a:t>
            </a:r>
          </a:p>
        </p:txBody>
      </p:sp>
      <p:sp>
        <p:nvSpPr>
          <p:cNvPr id="20" name="TextBox 19">
            <a:extLst>
              <a:ext uri="{FF2B5EF4-FFF2-40B4-BE49-F238E27FC236}">
                <a16:creationId xmlns:a16="http://schemas.microsoft.com/office/drawing/2014/main" id="{B6A1D0B5-F148-7C64-055A-A19B593F482D}"/>
              </a:ext>
            </a:extLst>
          </p:cNvPr>
          <p:cNvSpPr txBox="1"/>
          <p:nvPr/>
        </p:nvSpPr>
        <p:spPr>
          <a:xfrm>
            <a:off x="8234523" y="4423163"/>
            <a:ext cx="692238" cy="290849"/>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Lead</a:t>
            </a:r>
            <a:b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b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Prediction</a:t>
            </a:r>
          </a:p>
        </p:txBody>
      </p:sp>
      <p:sp>
        <p:nvSpPr>
          <p:cNvPr id="26" name="TextBox 25">
            <a:extLst>
              <a:ext uri="{FF2B5EF4-FFF2-40B4-BE49-F238E27FC236}">
                <a16:creationId xmlns:a16="http://schemas.microsoft.com/office/drawing/2014/main" id="{88B954F6-C22B-3B05-AD77-811723DD7694}"/>
              </a:ext>
            </a:extLst>
          </p:cNvPr>
          <p:cNvSpPr txBox="1"/>
          <p:nvPr/>
        </p:nvSpPr>
        <p:spPr>
          <a:xfrm>
            <a:off x="10560391" y="4423163"/>
            <a:ext cx="725326" cy="290849"/>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Document Compliance</a:t>
            </a:r>
          </a:p>
        </p:txBody>
      </p:sp>
      <p:grpSp>
        <p:nvGrpSpPr>
          <p:cNvPr id="27" name="Group 26">
            <a:extLst>
              <a:ext uri="{FF2B5EF4-FFF2-40B4-BE49-F238E27FC236}">
                <a16:creationId xmlns:a16="http://schemas.microsoft.com/office/drawing/2014/main" id="{39B08296-92AF-DA28-3A23-E1D64406F208}"/>
              </a:ext>
            </a:extLst>
          </p:cNvPr>
          <p:cNvGrpSpPr/>
          <p:nvPr/>
        </p:nvGrpSpPr>
        <p:grpSpPr>
          <a:xfrm>
            <a:off x="9457627" y="3675350"/>
            <a:ext cx="588445" cy="582475"/>
            <a:chOff x="5386385" y="3033312"/>
            <a:chExt cx="588445" cy="582475"/>
          </a:xfrm>
        </p:grpSpPr>
        <p:pic>
          <p:nvPicPr>
            <p:cNvPr id="29" name="Graphic 60">
              <a:extLst>
                <a:ext uri="{FF2B5EF4-FFF2-40B4-BE49-F238E27FC236}">
                  <a16:creationId xmlns:a16="http://schemas.microsoft.com/office/drawing/2014/main" id="{98DF2876-BBB1-B618-3CD7-DC28B7F62EB9}"/>
                </a:ext>
              </a:extLst>
            </p:cNvPr>
            <p:cNvPicPr>
              <a:picLocks noChangeAspect="1"/>
            </p:cNvPicPr>
            <p:nvPr/>
          </p:nvPicPr>
          <p:blipFill>
            <a:blip r:embed="rId11"/>
            <a:srcRect/>
            <a:stretch/>
          </p:blipFill>
          <p:spPr>
            <a:xfrm>
              <a:off x="5386385" y="3033312"/>
              <a:ext cx="298529" cy="301469"/>
            </a:xfrm>
            <a:prstGeom prst="rect">
              <a:avLst/>
            </a:prstGeom>
            <a:effectLst>
              <a:outerShdw blurRad="152400" dist="50800" dir="5400000" algn="ctr" rotWithShape="0">
                <a:srgbClr val="000000">
                  <a:alpha val="15000"/>
                </a:srgbClr>
              </a:outerShdw>
            </a:effectLst>
          </p:spPr>
        </p:pic>
        <p:pic>
          <p:nvPicPr>
            <p:cNvPr id="30" name="Picture 29">
              <a:extLst>
                <a:ext uri="{FF2B5EF4-FFF2-40B4-BE49-F238E27FC236}">
                  <a16:creationId xmlns:a16="http://schemas.microsoft.com/office/drawing/2014/main" id="{900DCBD8-0061-3595-D55A-72B3E5AB0900}"/>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669112" y="3310069"/>
              <a:ext cx="305718" cy="305718"/>
            </a:xfrm>
            <a:prstGeom prst="rect">
              <a:avLst/>
            </a:prstGeom>
          </p:spPr>
        </p:pic>
        <p:sp>
          <p:nvSpPr>
            <p:cNvPr id="31" name="TextBox 30">
              <a:extLst>
                <a:ext uri="{FF2B5EF4-FFF2-40B4-BE49-F238E27FC236}">
                  <a16:creationId xmlns:a16="http://schemas.microsoft.com/office/drawing/2014/main" id="{AE139A2E-4600-1CCA-86A5-B13A05D288D6}"/>
                </a:ext>
              </a:extLst>
            </p:cNvPr>
            <p:cNvSpPr txBox="1"/>
            <p:nvPr/>
          </p:nvSpPr>
          <p:spPr>
            <a:xfrm>
              <a:off x="5566298" y="3230547"/>
              <a:ext cx="271625" cy="161583"/>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a:t>
              </a:r>
            </a:p>
          </p:txBody>
        </p:sp>
      </p:grpSp>
      <p:grpSp>
        <p:nvGrpSpPr>
          <p:cNvPr id="34" name="Group 33">
            <a:extLst>
              <a:ext uri="{FF2B5EF4-FFF2-40B4-BE49-F238E27FC236}">
                <a16:creationId xmlns:a16="http://schemas.microsoft.com/office/drawing/2014/main" id="{A05C2CC1-97EC-2148-5628-19DCC73818A9}"/>
              </a:ext>
            </a:extLst>
          </p:cNvPr>
          <p:cNvGrpSpPr/>
          <p:nvPr/>
        </p:nvGrpSpPr>
        <p:grpSpPr>
          <a:xfrm>
            <a:off x="10628832" y="3675350"/>
            <a:ext cx="588445" cy="582475"/>
            <a:chOff x="5386385" y="3033312"/>
            <a:chExt cx="588445" cy="582475"/>
          </a:xfrm>
        </p:grpSpPr>
        <p:pic>
          <p:nvPicPr>
            <p:cNvPr id="35" name="Graphic 60">
              <a:extLst>
                <a:ext uri="{FF2B5EF4-FFF2-40B4-BE49-F238E27FC236}">
                  <a16:creationId xmlns:a16="http://schemas.microsoft.com/office/drawing/2014/main" id="{5E6EA926-ACDC-C513-D984-02865EE31377}"/>
                </a:ext>
              </a:extLst>
            </p:cNvPr>
            <p:cNvPicPr>
              <a:picLocks noChangeAspect="1"/>
            </p:cNvPicPr>
            <p:nvPr/>
          </p:nvPicPr>
          <p:blipFill>
            <a:blip r:embed="rId11"/>
            <a:srcRect/>
            <a:stretch/>
          </p:blipFill>
          <p:spPr>
            <a:xfrm>
              <a:off x="5386385" y="3033312"/>
              <a:ext cx="298529" cy="301469"/>
            </a:xfrm>
            <a:prstGeom prst="rect">
              <a:avLst/>
            </a:prstGeom>
            <a:effectLst>
              <a:outerShdw blurRad="152400" dist="50800" dir="5400000" algn="ctr" rotWithShape="0">
                <a:srgbClr val="000000">
                  <a:alpha val="15000"/>
                </a:srgbClr>
              </a:outerShdw>
            </a:effectLst>
          </p:spPr>
        </p:pic>
        <p:pic>
          <p:nvPicPr>
            <p:cNvPr id="36" name="Picture 35">
              <a:extLst>
                <a:ext uri="{FF2B5EF4-FFF2-40B4-BE49-F238E27FC236}">
                  <a16:creationId xmlns:a16="http://schemas.microsoft.com/office/drawing/2014/main" id="{F721BDAC-45AD-5DDD-CC72-43E9E5DC705D}"/>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669112" y="3310069"/>
              <a:ext cx="305718" cy="305718"/>
            </a:xfrm>
            <a:prstGeom prst="rect">
              <a:avLst/>
            </a:prstGeom>
          </p:spPr>
        </p:pic>
        <p:sp>
          <p:nvSpPr>
            <p:cNvPr id="37" name="TextBox 36">
              <a:extLst>
                <a:ext uri="{FF2B5EF4-FFF2-40B4-BE49-F238E27FC236}">
                  <a16:creationId xmlns:a16="http://schemas.microsoft.com/office/drawing/2014/main" id="{FC8312EE-8327-148D-73DF-C18B004DAEEF}"/>
                </a:ext>
              </a:extLst>
            </p:cNvPr>
            <p:cNvSpPr txBox="1"/>
            <p:nvPr/>
          </p:nvSpPr>
          <p:spPr>
            <a:xfrm>
              <a:off x="5566298" y="3230547"/>
              <a:ext cx="271625" cy="161583"/>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a:t>
              </a:r>
            </a:p>
          </p:txBody>
        </p:sp>
      </p:grpSp>
    </p:spTree>
    <p:extLst>
      <p:ext uri="{BB962C8B-B14F-4D97-AF65-F5344CB8AC3E}">
        <p14:creationId xmlns:p14="http://schemas.microsoft.com/office/powerpoint/2010/main" val="352156341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7AB30A-78D5-96E5-CA2B-483ADCAD337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9D11D9-9A3E-5F50-4595-8F9493A24F19}"/>
              </a:ext>
            </a:extLst>
          </p:cNvPr>
          <p:cNvSpPr>
            <a:spLocks noGrp="1"/>
          </p:cNvSpPr>
          <p:nvPr>
            <p:ph type="title"/>
          </p:nvPr>
        </p:nvSpPr>
        <p:spPr>
          <a:xfrm>
            <a:off x="588963" y="457200"/>
            <a:ext cx="11017250" cy="492443"/>
          </a:xfrm>
        </p:spPr>
        <p:txBody>
          <a:bodyPr/>
          <a:lstStyle/>
          <a:p>
            <a:pPr algn="ctr"/>
            <a:r>
              <a:rPr lang="en-US" sz="3200" dirty="0" err="1"/>
              <a:t>Agenti</a:t>
            </a:r>
            <a:r>
              <a:rPr lang="en-US" sz="3200" dirty="0"/>
              <a:t> Microsoft</a:t>
            </a:r>
          </a:p>
        </p:txBody>
      </p:sp>
      <p:sp>
        <p:nvSpPr>
          <p:cNvPr id="14" name="TextBox 13">
            <a:extLst>
              <a:ext uri="{FF2B5EF4-FFF2-40B4-BE49-F238E27FC236}">
                <a16:creationId xmlns:a16="http://schemas.microsoft.com/office/drawing/2014/main" id="{25774E82-8B8A-FFB5-8AE5-29AE5AB8BA4D}"/>
              </a:ext>
            </a:extLst>
          </p:cNvPr>
          <p:cNvSpPr txBox="1"/>
          <p:nvPr/>
        </p:nvSpPr>
        <p:spPr>
          <a:xfrm>
            <a:off x="1300687" y="1057365"/>
            <a:ext cx="9590627" cy="246221"/>
          </a:xfrm>
          <a:prstGeom prst="rect">
            <a:avLst/>
          </a:prstGeom>
          <a:noFill/>
        </p:spPr>
        <p:txBody>
          <a:bodyPr wrap="square" lIns="0" tIns="0" rIns="0" bIns="0" rtlCol="0">
            <a:spAutoFit/>
          </a:bodyPr>
          <a:lstStyle/>
          <a:p>
            <a:pPr algn="ctr">
              <a:defRPr/>
            </a:pPr>
            <a:r>
              <a:rPr lang="it-IT" sz="1600" noProof="0" dirty="0">
                <a:solidFill>
                  <a:schemeClr val="tx2"/>
                </a:solidFill>
              </a:rPr>
              <a:t>Nati per svolgere i compiti di lavoro, e automatizzare facilmente i task quotidiani</a:t>
            </a:r>
          </a:p>
        </p:txBody>
      </p:sp>
      <p:grpSp>
        <p:nvGrpSpPr>
          <p:cNvPr id="57" name="Group 56" descr="Image of Microsoft agents">
            <a:extLst>
              <a:ext uri="{FF2B5EF4-FFF2-40B4-BE49-F238E27FC236}">
                <a16:creationId xmlns:a16="http://schemas.microsoft.com/office/drawing/2014/main" id="{E45ED7AF-B57C-A497-9656-B0546B4BBD36}"/>
              </a:ext>
            </a:extLst>
          </p:cNvPr>
          <p:cNvGrpSpPr/>
          <p:nvPr/>
        </p:nvGrpSpPr>
        <p:grpSpPr>
          <a:xfrm>
            <a:off x="571500" y="1435262"/>
            <a:ext cx="11048999" cy="4713902"/>
            <a:chOff x="571500" y="1435262"/>
            <a:chExt cx="11048999" cy="4713902"/>
          </a:xfrm>
        </p:grpSpPr>
        <p:grpSp>
          <p:nvGrpSpPr>
            <p:cNvPr id="3" name="Group 2" descr="Image of Microsoft agents">
              <a:extLst>
                <a:ext uri="{FF2B5EF4-FFF2-40B4-BE49-F238E27FC236}">
                  <a16:creationId xmlns:a16="http://schemas.microsoft.com/office/drawing/2014/main" id="{BD420656-DD69-377B-5F82-4FEB40B0EBE1}"/>
                </a:ext>
              </a:extLst>
            </p:cNvPr>
            <p:cNvGrpSpPr/>
            <p:nvPr/>
          </p:nvGrpSpPr>
          <p:grpSpPr>
            <a:xfrm>
              <a:off x="571500" y="1464474"/>
              <a:ext cx="11048999" cy="4422942"/>
              <a:chOff x="571500" y="1411309"/>
              <a:chExt cx="11048999" cy="4422942"/>
            </a:xfrm>
          </p:grpSpPr>
          <p:sp>
            <p:nvSpPr>
              <p:cNvPr id="106" name="Rectangle: Rounded Corners 30">
                <a:extLst>
                  <a:ext uri="{FF2B5EF4-FFF2-40B4-BE49-F238E27FC236}">
                    <a16:creationId xmlns:a16="http://schemas.microsoft.com/office/drawing/2014/main" id="{24386DD8-F96A-3A3B-6C56-33FC9106B0A0}"/>
                  </a:ext>
                </a:extLst>
              </p:cNvPr>
              <p:cNvSpPr>
                <a:spLocks/>
              </p:cNvSpPr>
              <p:nvPr/>
            </p:nvSpPr>
            <p:spPr bwMode="auto">
              <a:xfrm>
                <a:off x="571500"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07" name="Rectangle: Rounded Corners 30">
                <a:extLst>
                  <a:ext uri="{FF2B5EF4-FFF2-40B4-BE49-F238E27FC236}">
                    <a16:creationId xmlns:a16="http://schemas.microsoft.com/office/drawing/2014/main" id="{4A483A7C-84D3-6D4D-289E-A0288BFA884A}"/>
                  </a:ext>
                </a:extLst>
              </p:cNvPr>
              <p:cNvSpPr>
                <a:spLocks/>
              </p:cNvSpPr>
              <p:nvPr/>
            </p:nvSpPr>
            <p:spPr bwMode="auto">
              <a:xfrm>
                <a:off x="2816933"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09" name="Rectangle: Rounded Corners 30">
                <a:extLst>
                  <a:ext uri="{FF2B5EF4-FFF2-40B4-BE49-F238E27FC236}">
                    <a16:creationId xmlns:a16="http://schemas.microsoft.com/office/drawing/2014/main" id="{AE712486-8137-3206-CA95-3E00DAD2E944}"/>
                  </a:ext>
                </a:extLst>
              </p:cNvPr>
              <p:cNvSpPr>
                <a:spLocks/>
              </p:cNvSpPr>
              <p:nvPr/>
            </p:nvSpPr>
            <p:spPr bwMode="auto">
              <a:xfrm>
                <a:off x="9553230"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10" name="Rectangle: Rounded Corners 30">
                <a:extLst>
                  <a:ext uri="{FF2B5EF4-FFF2-40B4-BE49-F238E27FC236}">
                    <a16:creationId xmlns:a16="http://schemas.microsoft.com/office/drawing/2014/main" id="{F5C5C8CA-C841-6BCD-056F-1A17A02D63CE}"/>
                  </a:ext>
                </a:extLst>
              </p:cNvPr>
              <p:cNvSpPr>
                <a:spLocks/>
              </p:cNvSpPr>
              <p:nvPr/>
            </p:nvSpPr>
            <p:spPr bwMode="auto">
              <a:xfrm>
                <a:off x="7307798"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11" name="Rectangle: Rounded Corners 30">
                <a:extLst>
                  <a:ext uri="{FF2B5EF4-FFF2-40B4-BE49-F238E27FC236}">
                    <a16:creationId xmlns:a16="http://schemas.microsoft.com/office/drawing/2014/main" id="{3F9BC78F-3FB2-55D4-8CA0-5F5984C633F8}"/>
                  </a:ext>
                </a:extLst>
              </p:cNvPr>
              <p:cNvSpPr>
                <a:spLocks/>
              </p:cNvSpPr>
              <p:nvPr/>
            </p:nvSpPr>
            <p:spPr bwMode="auto">
              <a:xfrm>
                <a:off x="5062365"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13" name="Rectangle: Rounded Corners 30">
                <a:extLst>
                  <a:ext uri="{FF2B5EF4-FFF2-40B4-BE49-F238E27FC236}">
                    <a16:creationId xmlns:a16="http://schemas.microsoft.com/office/drawing/2014/main" id="{620126C4-BFB4-D410-1871-7DB365CA3871}"/>
                  </a:ext>
                </a:extLst>
              </p:cNvPr>
              <p:cNvSpPr>
                <a:spLocks/>
              </p:cNvSpPr>
              <p:nvPr/>
            </p:nvSpPr>
            <p:spPr bwMode="auto">
              <a:xfrm>
                <a:off x="571500"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14" name="Rectangle: Rounded Corners 30">
                <a:extLst>
                  <a:ext uri="{FF2B5EF4-FFF2-40B4-BE49-F238E27FC236}">
                    <a16:creationId xmlns:a16="http://schemas.microsoft.com/office/drawing/2014/main" id="{326CE06B-4F8C-3937-FD1D-B6D3FC81377D}"/>
                  </a:ext>
                </a:extLst>
              </p:cNvPr>
              <p:cNvSpPr>
                <a:spLocks/>
              </p:cNvSpPr>
              <p:nvPr/>
            </p:nvSpPr>
            <p:spPr bwMode="auto">
              <a:xfrm>
                <a:off x="2816933"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15" name="Rectangle: Rounded Corners 30">
                <a:extLst>
                  <a:ext uri="{FF2B5EF4-FFF2-40B4-BE49-F238E27FC236}">
                    <a16:creationId xmlns:a16="http://schemas.microsoft.com/office/drawing/2014/main" id="{53C72494-A7FE-E7ED-330B-713611F01BB9}"/>
                  </a:ext>
                </a:extLst>
              </p:cNvPr>
              <p:cNvSpPr>
                <a:spLocks/>
              </p:cNvSpPr>
              <p:nvPr/>
            </p:nvSpPr>
            <p:spPr bwMode="auto">
              <a:xfrm>
                <a:off x="9553230"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16" name="Rectangle: Rounded Corners 30">
                <a:extLst>
                  <a:ext uri="{FF2B5EF4-FFF2-40B4-BE49-F238E27FC236}">
                    <a16:creationId xmlns:a16="http://schemas.microsoft.com/office/drawing/2014/main" id="{EB6BAE08-9893-2E0E-813C-201611B2D6B1}"/>
                  </a:ext>
                </a:extLst>
              </p:cNvPr>
              <p:cNvSpPr>
                <a:spLocks/>
              </p:cNvSpPr>
              <p:nvPr/>
            </p:nvSpPr>
            <p:spPr bwMode="auto">
              <a:xfrm>
                <a:off x="7307798"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25" name="Rectangle: Rounded Corners 30">
                <a:extLst>
                  <a:ext uri="{FF2B5EF4-FFF2-40B4-BE49-F238E27FC236}">
                    <a16:creationId xmlns:a16="http://schemas.microsoft.com/office/drawing/2014/main" id="{24C06078-098F-C77E-0824-EFEAED600BB4}"/>
                  </a:ext>
                </a:extLst>
              </p:cNvPr>
              <p:cNvSpPr>
                <a:spLocks/>
              </p:cNvSpPr>
              <p:nvPr/>
            </p:nvSpPr>
            <p:spPr bwMode="auto">
              <a:xfrm>
                <a:off x="5062365"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31" name="Rectangle: Rounded Corners 30">
                <a:extLst>
                  <a:ext uri="{FF2B5EF4-FFF2-40B4-BE49-F238E27FC236}">
                    <a16:creationId xmlns:a16="http://schemas.microsoft.com/office/drawing/2014/main" id="{53ECAD27-C176-8566-3CBC-9B957E3AEF98}"/>
                  </a:ext>
                </a:extLst>
              </p:cNvPr>
              <p:cNvSpPr>
                <a:spLocks/>
              </p:cNvSpPr>
              <p:nvPr/>
            </p:nvSpPr>
            <p:spPr bwMode="auto">
              <a:xfrm>
                <a:off x="621337"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87" name="Rectangle: Rounded Corners 30">
                <a:extLst>
                  <a:ext uri="{FF2B5EF4-FFF2-40B4-BE49-F238E27FC236}">
                    <a16:creationId xmlns:a16="http://schemas.microsoft.com/office/drawing/2014/main" id="{2E5918EB-F48C-E764-2D08-887DE54420ED}"/>
                  </a:ext>
                </a:extLst>
              </p:cNvPr>
              <p:cNvSpPr>
                <a:spLocks/>
              </p:cNvSpPr>
              <p:nvPr/>
            </p:nvSpPr>
            <p:spPr bwMode="auto">
              <a:xfrm>
                <a:off x="2866770"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90" name="Rectangle: Rounded Corners 30">
                <a:extLst>
                  <a:ext uri="{FF2B5EF4-FFF2-40B4-BE49-F238E27FC236}">
                    <a16:creationId xmlns:a16="http://schemas.microsoft.com/office/drawing/2014/main" id="{52062F79-55F9-E945-F123-85FC0C085F3B}"/>
                  </a:ext>
                </a:extLst>
              </p:cNvPr>
              <p:cNvSpPr>
                <a:spLocks/>
              </p:cNvSpPr>
              <p:nvPr/>
            </p:nvSpPr>
            <p:spPr bwMode="auto">
              <a:xfrm>
                <a:off x="9553230"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93" name="Rectangle: Rounded Corners 30">
                <a:extLst>
                  <a:ext uri="{FF2B5EF4-FFF2-40B4-BE49-F238E27FC236}">
                    <a16:creationId xmlns:a16="http://schemas.microsoft.com/office/drawing/2014/main" id="{C0D16F6D-16CC-D35F-0020-C6BB45A81A56}"/>
                  </a:ext>
                </a:extLst>
              </p:cNvPr>
              <p:cNvSpPr>
                <a:spLocks/>
              </p:cNvSpPr>
              <p:nvPr/>
            </p:nvSpPr>
            <p:spPr bwMode="auto">
              <a:xfrm>
                <a:off x="7307798"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95" name="Rectangle: Rounded Corners 30">
                <a:extLst>
                  <a:ext uri="{FF2B5EF4-FFF2-40B4-BE49-F238E27FC236}">
                    <a16:creationId xmlns:a16="http://schemas.microsoft.com/office/drawing/2014/main" id="{7A85F5B3-14CC-76D9-65E3-9C98C8FDCF48}"/>
                  </a:ext>
                </a:extLst>
              </p:cNvPr>
              <p:cNvSpPr>
                <a:spLocks/>
              </p:cNvSpPr>
              <p:nvPr/>
            </p:nvSpPr>
            <p:spPr bwMode="auto">
              <a:xfrm>
                <a:off x="5112202"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grpSp>
        <p:grpSp>
          <p:nvGrpSpPr>
            <p:cNvPr id="30" name="Group 29" descr="Image of Microsoft Agents">
              <a:extLst>
                <a:ext uri="{FF2B5EF4-FFF2-40B4-BE49-F238E27FC236}">
                  <a16:creationId xmlns:a16="http://schemas.microsoft.com/office/drawing/2014/main" id="{87546A75-AE0D-C407-0A2D-5AF244914343}"/>
                </a:ext>
              </a:extLst>
            </p:cNvPr>
            <p:cNvGrpSpPr/>
            <p:nvPr/>
          </p:nvGrpSpPr>
          <p:grpSpPr>
            <a:xfrm>
              <a:off x="2936168" y="2902605"/>
              <a:ext cx="1828800" cy="1160530"/>
              <a:chOff x="2936168" y="2849440"/>
              <a:chExt cx="1828800" cy="1160530"/>
            </a:xfrm>
          </p:grpSpPr>
          <p:sp>
            <p:nvSpPr>
              <p:cNvPr id="21" name="TextBox 20">
                <a:extLst>
                  <a:ext uri="{FF2B5EF4-FFF2-40B4-BE49-F238E27FC236}">
                    <a16:creationId xmlns:a16="http://schemas.microsoft.com/office/drawing/2014/main" id="{04A6168B-4BC5-1865-7D14-1EC2668C5E1C}"/>
                  </a:ext>
                </a:extLst>
              </p:cNvPr>
              <p:cNvSpPr txBox="1">
                <a:spLocks/>
              </p:cNvSpPr>
              <p:nvPr/>
            </p:nvSpPr>
            <p:spPr>
              <a:xfrm>
                <a:off x="2936168"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3">
                      <a:extLst>
                        <a:ext uri="{A12FA001-AC4F-418D-AE19-62706E023703}">
                          <ahyp:hlinkClr xmlns:ahyp="http://schemas.microsoft.com/office/drawing/2018/hyperlinkcolor" val="tx"/>
                        </a:ext>
                      </a:extLst>
                    </a:hlinkClick>
                  </a:rPr>
                  <a:t>Public preview</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23" name="TextBox 22">
                <a:extLst>
                  <a:ext uri="{FF2B5EF4-FFF2-40B4-BE49-F238E27FC236}">
                    <a16:creationId xmlns:a16="http://schemas.microsoft.com/office/drawing/2014/main" id="{31ACACB6-F46A-935A-E116-28CCA9B08B75}"/>
                  </a:ext>
                </a:extLst>
              </p:cNvPr>
              <p:cNvSpPr txBox="1">
                <a:spLocks/>
              </p:cNvSpPr>
              <p:nvPr/>
            </p:nvSpPr>
            <p:spPr>
              <a:xfrm>
                <a:off x="3476266" y="3328642"/>
                <a:ext cx="748603"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1400">
                    <a:solidFill>
                      <a:schemeClr val="tx2"/>
                    </a:solidFill>
                    <a:latin typeface="+mj-lt"/>
                    <a:ea typeface="+mj-ea"/>
                    <a:cs typeface="+mj-cs"/>
                  </a:rPr>
                  <a:t>Channels</a:t>
                </a:r>
                <a:endParaRPr kumimoji="0" lang="en-US" sz="1400" i="0" strike="noStrike" kern="1200" cap="none" spc="0" normalizeH="0" baseline="0" noProof="0">
                  <a:ln>
                    <a:noFill/>
                  </a:ln>
                  <a:solidFill>
                    <a:schemeClr val="tx2"/>
                  </a:solidFill>
                  <a:effectLst/>
                  <a:uLnTx/>
                  <a:uFillTx/>
                  <a:latin typeface="+mj-lt"/>
                  <a:ea typeface="+mj-ea"/>
                  <a:cs typeface="+mj-cs"/>
                </a:endParaRPr>
              </a:p>
            </p:txBody>
          </p:sp>
          <p:sp>
            <p:nvSpPr>
              <p:cNvPr id="24" name="TextBox 23">
                <a:extLst>
                  <a:ext uri="{FF2B5EF4-FFF2-40B4-BE49-F238E27FC236}">
                    <a16:creationId xmlns:a16="http://schemas.microsoft.com/office/drawing/2014/main" id="{52DDF47D-6801-F454-FB20-413F99D8384A}"/>
                  </a:ext>
                </a:extLst>
              </p:cNvPr>
              <p:cNvSpPr txBox="1"/>
              <p:nvPr/>
            </p:nvSpPr>
            <p:spPr>
              <a:xfrm>
                <a:off x="2936168"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2"/>
                    </a:solidFill>
                    <a:effectLst/>
                    <a:uLnTx/>
                    <a:uFillTx/>
                  </a:rPr>
                  <a:t>AI teammate</a:t>
                </a:r>
              </a:p>
            </p:txBody>
          </p:sp>
          <p:pic>
            <p:nvPicPr>
              <p:cNvPr id="25" name="Picture 24">
                <a:extLst>
                  <a:ext uri="{FF2B5EF4-FFF2-40B4-BE49-F238E27FC236}">
                    <a16:creationId xmlns:a16="http://schemas.microsoft.com/office/drawing/2014/main" id="{E46BFA94-D713-4997-EC50-81FD9CC48DE9}"/>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3544124" y="2849440"/>
                <a:ext cx="612888" cy="612888"/>
              </a:xfrm>
              <a:prstGeom prst="rect">
                <a:avLst/>
              </a:prstGeom>
            </p:spPr>
          </p:pic>
        </p:grpSp>
        <p:grpSp>
          <p:nvGrpSpPr>
            <p:cNvPr id="10" name="Group 9">
              <a:extLst>
                <a:ext uri="{FF2B5EF4-FFF2-40B4-BE49-F238E27FC236}">
                  <a16:creationId xmlns:a16="http://schemas.microsoft.com/office/drawing/2014/main" id="{7165B3E8-6C49-3A54-CD2B-C8A327A2E803}"/>
                </a:ext>
              </a:extLst>
            </p:cNvPr>
            <p:cNvGrpSpPr/>
            <p:nvPr/>
          </p:nvGrpSpPr>
          <p:grpSpPr>
            <a:xfrm>
              <a:off x="2936168" y="1577114"/>
              <a:ext cx="1828800" cy="1085092"/>
              <a:chOff x="2936168" y="1523949"/>
              <a:chExt cx="1828800" cy="1085092"/>
            </a:xfrm>
          </p:grpSpPr>
          <p:sp>
            <p:nvSpPr>
              <p:cNvPr id="41" name="TextBox 40">
                <a:extLst>
                  <a:ext uri="{FF2B5EF4-FFF2-40B4-BE49-F238E27FC236}">
                    <a16:creationId xmlns:a16="http://schemas.microsoft.com/office/drawing/2014/main" id="{DE4F5695-3B08-4410-5B7E-E8EC044FCEFD}"/>
                  </a:ext>
                </a:extLst>
              </p:cNvPr>
              <p:cNvSpPr txBox="1">
                <a:spLocks/>
              </p:cNvSpPr>
              <p:nvPr/>
            </p:nvSpPr>
            <p:spPr>
              <a:xfrm>
                <a:off x="2936168" y="192340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i="0" u="none" strike="noStrike" kern="1200" cap="none" spc="0" normalizeH="0" baseline="0" noProof="0">
                    <a:ln>
                      <a:noFill/>
                    </a:ln>
                    <a:solidFill>
                      <a:schemeClr val="tx2"/>
                    </a:solidFill>
                    <a:effectLst/>
                    <a:uLnTx/>
                    <a:uFillTx/>
                    <a:latin typeface="+mj-lt"/>
                    <a:ea typeface="+mj-ea"/>
                    <a:cs typeface="+mj-cs"/>
                  </a:rPr>
                  <a:t>Analyst</a:t>
                </a:r>
              </a:p>
            </p:txBody>
          </p:sp>
          <p:pic>
            <p:nvPicPr>
              <p:cNvPr id="43" name="Picture 42">
                <a:extLst>
                  <a:ext uri="{FF2B5EF4-FFF2-40B4-BE49-F238E27FC236}">
                    <a16:creationId xmlns:a16="http://schemas.microsoft.com/office/drawing/2014/main" id="{443B6988-C4E1-B14D-BF6D-31400E7E8E65}"/>
                  </a:ext>
                  <a:ext uri="{C183D7F6-B498-43B3-948B-1728B52AA6E4}">
                    <adec:decorative xmlns:adec="http://schemas.microsoft.com/office/drawing/2017/decorative" val="1"/>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3685976" y="1523949"/>
                <a:ext cx="329184" cy="329184"/>
              </a:xfrm>
              <a:prstGeom prst="rect">
                <a:avLst/>
              </a:prstGeom>
            </p:spPr>
          </p:pic>
          <p:sp>
            <p:nvSpPr>
              <p:cNvPr id="75" name="TextBox 74">
                <a:extLst>
                  <a:ext uri="{FF2B5EF4-FFF2-40B4-BE49-F238E27FC236}">
                    <a16:creationId xmlns:a16="http://schemas.microsoft.com/office/drawing/2014/main" id="{03CD989C-6301-E8CE-A30C-1B3464EC9E22}"/>
                  </a:ext>
                </a:extLst>
              </p:cNvPr>
              <p:cNvSpPr txBox="1"/>
              <p:nvPr/>
            </p:nvSpPr>
            <p:spPr>
              <a:xfrm>
                <a:off x="2936168"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Advanced reasoning</a:t>
                </a:r>
              </a:p>
            </p:txBody>
          </p:sp>
          <p:sp>
            <p:nvSpPr>
              <p:cNvPr id="42" name="TextBox 41">
                <a:extLst>
                  <a:ext uri="{FF2B5EF4-FFF2-40B4-BE49-F238E27FC236}">
                    <a16:creationId xmlns:a16="http://schemas.microsoft.com/office/drawing/2014/main" id="{30D14C5F-7232-87B7-6340-641934BEA397}"/>
                  </a:ext>
                </a:extLst>
              </p:cNvPr>
              <p:cNvSpPr txBox="1">
                <a:spLocks/>
              </p:cNvSpPr>
              <p:nvPr/>
            </p:nvSpPr>
            <p:spPr>
              <a:xfrm>
                <a:off x="2936168"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6">
                      <a:extLst>
                        <a:ext uri="{A12FA001-AC4F-418D-AE19-62706E023703}">
                          <ahyp:hlinkClr xmlns:ahyp="http://schemas.microsoft.com/office/drawing/2018/hyperlinkcolor" val="tx"/>
                        </a:ext>
                      </a:extLst>
                    </a:hlinkClick>
                  </a:rPr>
                  <a:t>Generally available</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45" name="Group 44">
              <a:extLst>
                <a:ext uri="{FF2B5EF4-FFF2-40B4-BE49-F238E27FC236}">
                  <a16:creationId xmlns:a16="http://schemas.microsoft.com/office/drawing/2014/main" id="{AD5CA388-9C4F-8ACF-226B-AE3ED0565584}"/>
                </a:ext>
              </a:extLst>
            </p:cNvPr>
            <p:cNvGrpSpPr/>
            <p:nvPr/>
          </p:nvGrpSpPr>
          <p:grpSpPr>
            <a:xfrm>
              <a:off x="2936168" y="4448318"/>
              <a:ext cx="1828800" cy="1214804"/>
              <a:chOff x="2936168" y="4395153"/>
              <a:chExt cx="1828800" cy="1214804"/>
            </a:xfrm>
          </p:grpSpPr>
          <p:pic>
            <p:nvPicPr>
              <p:cNvPr id="19" name="Picture 18" descr="A green and white logo  AI-generated content may be incorrect.">
                <a:extLst>
                  <a:ext uri="{FF2B5EF4-FFF2-40B4-BE49-F238E27FC236}">
                    <a16:creationId xmlns:a16="http://schemas.microsoft.com/office/drawing/2014/main" id="{AD55E330-5FCE-F76F-D996-25B3699B8D2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3704264" y="4395153"/>
                <a:ext cx="292608" cy="292608"/>
              </a:xfrm>
              <a:prstGeom prst="rect">
                <a:avLst/>
              </a:prstGeom>
            </p:spPr>
          </p:pic>
          <p:sp>
            <p:nvSpPr>
              <p:cNvPr id="63" name="TextBox 62">
                <a:extLst>
                  <a:ext uri="{FF2B5EF4-FFF2-40B4-BE49-F238E27FC236}">
                    <a16:creationId xmlns:a16="http://schemas.microsoft.com/office/drawing/2014/main" id="{48347795-0CD9-3489-467E-0E2BD590FC55}"/>
                  </a:ext>
                </a:extLst>
              </p:cNvPr>
              <p:cNvSpPr txBox="1">
                <a:spLocks/>
              </p:cNvSpPr>
              <p:nvPr/>
            </p:nvSpPr>
            <p:spPr>
              <a:xfrm>
                <a:off x="2936168" y="477965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i="0" strike="noStrike" kern="1200" cap="none" spc="0" normalizeH="0" baseline="0" noProof="0">
                    <a:ln>
                      <a:noFill/>
                    </a:ln>
                    <a:solidFill>
                      <a:schemeClr val="tx2"/>
                    </a:solidFill>
                    <a:effectLst/>
                    <a:uLnTx/>
                    <a:uFillTx/>
                    <a:latin typeface="+mj-lt"/>
                    <a:ea typeface="+mj-ea"/>
                    <a:cs typeface="+mj-cs"/>
                  </a:rPr>
                  <a:t>Excel</a:t>
                </a:r>
              </a:p>
            </p:txBody>
          </p:sp>
          <p:sp>
            <p:nvSpPr>
              <p:cNvPr id="67" name="TextBox 66">
                <a:extLst>
                  <a:ext uri="{FF2B5EF4-FFF2-40B4-BE49-F238E27FC236}">
                    <a16:creationId xmlns:a16="http://schemas.microsoft.com/office/drawing/2014/main" id="{A9170557-FCD1-BBDE-12D3-1158641CE297}"/>
                  </a:ext>
                </a:extLst>
              </p:cNvPr>
              <p:cNvSpPr txBox="1"/>
              <p:nvPr/>
            </p:nvSpPr>
            <p:spPr>
              <a:xfrm>
                <a:off x="2936168"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err="1">
                    <a:solidFill>
                      <a:schemeClr val="tx2"/>
                    </a:solidFill>
                  </a:rPr>
                  <a:t>Generazione</a:t>
                </a:r>
                <a:r>
                  <a:rPr lang="en-US" sz="1050" dirty="0">
                    <a:solidFill>
                      <a:schemeClr val="tx2"/>
                    </a:solidFill>
                  </a:rPr>
                  <a:t> </a:t>
                </a:r>
                <a:r>
                  <a:rPr lang="en-US" sz="1050" dirty="0" err="1">
                    <a:solidFill>
                      <a:schemeClr val="tx2"/>
                    </a:solidFill>
                  </a:rPr>
                  <a:t>grafici</a:t>
                </a:r>
                <a:r>
                  <a:rPr lang="en-US" sz="1050" dirty="0">
                    <a:solidFill>
                      <a:schemeClr val="tx2"/>
                    </a:solidFill>
                  </a:rPr>
                  <a:t> e data insights</a:t>
                </a:r>
                <a:endParaRPr kumimoji="0" lang="en-US" sz="1050" b="0" i="0" u="none" strike="noStrike" kern="1200" cap="none" spc="0" normalizeH="0" baseline="0" noProof="0" dirty="0">
                  <a:ln>
                    <a:noFill/>
                  </a:ln>
                  <a:solidFill>
                    <a:schemeClr val="tx2"/>
                  </a:solidFill>
                  <a:effectLst/>
                  <a:uLnTx/>
                  <a:uFillTx/>
                </a:endParaRPr>
              </a:p>
            </p:txBody>
          </p:sp>
          <p:sp>
            <p:nvSpPr>
              <p:cNvPr id="98" name="TextBox 97">
                <a:extLst>
                  <a:ext uri="{FF2B5EF4-FFF2-40B4-BE49-F238E27FC236}">
                    <a16:creationId xmlns:a16="http://schemas.microsoft.com/office/drawing/2014/main" id="{664C8823-E23F-8055-00CB-FB2979385B73}"/>
                  </a:ext>
                </a:extLst>
              </p:cNvPr>
              <p:cNvSpPr txBox="1">
                <a:spLocks/>
              </p:cNvSpPr>
              <p:nvPr/>
            </p:nvSpPr>
            <p:spPr>
              <a:xfrm>
                <a:off x="2936168" y="544068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8">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16" name="Group 15">
              <a:extLst>
                <a:ext uri="{FF2B5EF4-FFF2-40B4-BE49-F238E27FC236}">
                  <a16:creationId xmlns:a16="http://schemas.microsoft.com/office/drawing/2014/main" id="{4D1D5E34-4132-BEC7-239F-7F60BCF5E2BF}"/>
                </a:ext>
              </a:extLst>
            </p:cNvPr>
            <p:cNvGrpSpPr/>
            <p:nvPr/>
          </p:nvGrpSpPr>
          <p:grpSpPr>
            <a:xfrm>
              <a:off x="5181600" y="1580213"/>
              <a:ext cx="1828800" cy="1081993"/>
              <a:chOff x="5181600" y="1527048"/>
              <a:chExt cx="1828800" cy="1081993"/>
            </a:xfrm>
          </p:grpSpPr>
          <p:sp>
            <p:nvSpPr>
              <p:cNvPr id="55" name="TextBox 54">
                <a:extLst>
                  <a:ext uri="{FF2B5EF4-FFF2-40B4-BE49-F238E27FC236}">
                    <a16:creationId xmlns:a16="http://schemas.microsoft.com/office/drawing/2014/main" id="{BD10C192-F9F9-EACA-0AA5-824272666DF8}"/>
                  </a:ext>
                </a:extLst>
              </p:cNvPr>
              <p:cNvSpPr txBox="1">
                <a:spLocks/>
              </p:cNvSpPr>
              <p:nvPr/>
            </p:nvSpPr>
            <p:spPr>
              <a:xfrm>
                <a:off x="5441559" y="1925966"/>
                <a:ext cx="1308884" cy="21589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1400" dirty="0">
                    <a:solidFill>
                      <a:schemeClr val="tx2"/>
                    </a:solidFill>
                    <a:latin typeface="+mj-lt"/>
                    <a:ea typeface="+mj-ea"/>
                    <a:cs typeface="+mj-cs"/>
                  </a:rPr>
                  <a:t>Forms (Surveys)</a:t>
                </a:r>
                <a:endParaRPr kumimoji="0" lang="en-US" sz="1400" i="0" strike="noStrike" kern="1200" cap="none" spc="0" normalizeH="0" baseline="0" noProof="0" dirty="0">
                  <a:ln>
                    <a:noFill/>
                  </a:ln>
                  <a:solidFill>
                    <a:schemeClr val="tx2"/>
                  </a:solidFill>
                  <a:effectLst/>
                  <a:uLnTx/>
                  <a:uFillTx/>
                  <a:latin typeface="+mj-lt"/>
                  <a:ea typeface="+mj-ea"/>
                  <a:cs typeface="+mj-cs"/>
                </a:endParaRPr>
              </a:p>
            </p:txBody>
          </p:sp>
          <p:sp>
            <p:nvSpPr>
              <p:cNvPr id="94" name="TextBox 93">
                <a:extLst>
                  <a:ext uri="{FF2B5EF4-FFF2-40B4-BE49-F238E27FC236}">
                    <a16:creationId xmlns:a16="http://schemas.microsoft.com/office/drawing/2014/main" id="{D92D1FE8-3670-B8B5-0F48-DBC6B1B4793E}"/>
                  </a:ext>
                </a:extLst>
              </p:cNvPr>
              <p:cNvSpPr txBox="1"/>
              <p:nvPr/>
            </p:nvSpPr>
            <p:spPr>
              <a:xfrm>
                <a:off x="5181600"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solidFill>
                      <a:schemeClr val="tx2"/>
                    </a:solidFill>
                  </a:rPr>
                  <a:t>Ge</a:t>
                </a:r>
                <a:r>
                  <a:rPr kumimoji="0" lang="en-US" sz="1050" b="0" i="0" u="none" strike="noStrike" kern="1200" cap="none" spc="0" normalizeH="0" baseline="0" noProof="0" dirty="0" err="1">
                    <a:ln>
                      <a:noFill/>
                    </a:ln>
                    <a:solidFill>
                      <a:schemeClr val="tx2"/>
                    </a:solidFill>
                    <a:effectLst/>
                    <a:uLnTx/>
                    <a:uFillTx/>
                  </a:rPr>
                  <a:t>stione</a:t>
                </a:r>
                <a:r>
                  <a:rPr kumimoji="0" lang="en-US" sz="1050" b="0" i="0" u="none" strike="noStrike" kern="1200" cap="none" spc="0" normalizeH="0" baseline="0" noProof="0" dirty="0">
                    <a:ln>
                      <a:noFill/>
                    </a:ln>
                    <a:solidFill>
                      <a:schemeClr val="tx2"/>
                    </a:solidFill>
                    <a:effectLst/>
                    <a:uLnTx/>
                    <a:uFillTx/>
                  </a:rPr>
                  <a:t> survey end-to-end</a:t>
                </a:r>
              </a:p>
            </p:txBody>
          </p:sp>
          <p:pic>
            <p:nvPicPr>
              <p:cNvPr id="15" name="Picture 14" descr="A rainbow colored logo on a black background  AI-generated content may be incorrect.">
                <a:extLst>
                  <a:ext uri="{FF2B5EF4-FFF2-40B4-BE49-F238E27FC236}">
                    <a16:creationId xmlns:a16="http://schemas.microsoft.com/office/drawing/2014/main" id="{DD3E71FB-85F4-4CB3-8538-26E3BF5DDB1B}"/>
                  </a:ext>
                  <a:ext uri="{C183D7F6-B498-43B3-948B-1728B52AA6E4}">
                    <adec:decorative xmlns:adec="http://schemas.microsoft.com/office/drawing/2017/decorative" val="0"/>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5931408" y="1527048"/>
                <a:ext cx="329184" cy="329184"/>
              </a:xfrm>
              <a:prstGeom prst="rect">
                <a:avLst/>
              </a:prstGeom>
            </p:spPr>
          </p:pic>
          <p:sp>
            <p:nvSpPr>
              <p:cNvPr id="53" name="TextBox 52">
                <a:extLst>
                  <a:ext uri="{FF2B5EF4-FFF2-40B4-BE49-F238E27FC236}">
                    <a16:creationId xmlns:a16="http://schemas.microsoft.com/office/drawing/2014/main" id="{350502A2-AFCE-65E0-F5FF-0697CA83066C}"/>
                  </a:ext>
                </a:extLst>
              </p:cNvPr>
              <p:cNvSpPr txBox="1">
                <a:spLocks/>
              </p:cNvSpPr>
              <p:nvPr/>
            </p:nvSpPr>
            <p:spPr>
              <a:xfrm>
                <a:off x="5181600" y="2439764"/>
                <a:ext cx="1828800" cy="169277"/>
              </a:xfrm>
              <a:prstGeom prst="rect">
                <a:avLst/>
              </a:prstGeom>
              <a:noFill/>
            </p:spPr>
            <p:txBody>
              <a:bodyPr wrap="square" lIns="0" tIns="0" rIns="0" bIns="0" anchor="ctr">
                <a:spAutoFit/>
              </a:bodyPr>
              <a:lstStyle/>
              <a:p>
                <a:pPr algn="ctr">
                  <a:defRPr/>
                </a:pPr>
                <a:r>
                  <a:rPr lang="en-US" sz="1100">
                    <a:solidFill>
                      <a:schemeClr val="accent1"/>
                    </a:solidFill>
                    <a:ea typeface="+mj-ea"/>
                    <a:cs typeface="+mj-cs"/>
                    <a:hlinkClick r:id="rId9">
                      <a:extLst>
                        <a:ext uri="{A12FA001-AC4F-418D-AE19-62706E023703}">
                          <ahyp:hlinkClr xmlns:ahyp="http://schemas.microsoft.com/office/drawing/2018/hyperlinkcolor" val="tx"/>
                        </a:ext>
                      </a:extLst>
                    </a:hlinkClick>
                  </a:rPr>
                  <a:t>Generally Available</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46" name="Group 45">
              <a:extLst>
                <a:ext uri="{FF2B5EF4-FFF2-40B4-BE49-F238E27FC236}">
                  <a16:creationId xmlns:a16="http://schemas.microsoft.com/office/drawing/2014/main" id="{D592C6CB-0D73-3FAF-2E03-DE03127B45EA}"/>
                </a:ext>
              </a:extLst>
            </p:cNvPr>
            <p:cNvGrpSpPr/>
            <p:nvPr/>
          </p:nvGrpSpPr>
          <p:grpSpPr>
            <a:xfrm>
              <a:off x="5181600" y="4448318"/>
              <a:ext cx="1828800" cy="1214804"/>
              <a:chOff x="5181600" y="4395153"/>
              <a:chExt cx="1828800" cy="1214804"/>
            </a:xfrm>
          </p:grpSpPr>
          <p:pic>
            <p:nvPicPr>
              <p:cNvPr id="61" name="Picture 60" descr="A logo with a letter p  AI-generated content may be incorrect.">
                <a:extLst>
                  <a:ext uri="{FF2B5EF4-FFF2-40B4-BE49-F238E27FC236}">
                    <a16:creationId xmlns:a16="http://schemas.microsoft.com/office/drawing/2014/main" id="{EF79EF0C-E6BC-E86A-E353-DA0AC3759983}"/>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5949696" y="4395153"/>
                <a:ext cx="292608" cy="292608"/>
              </a:xfrm>
              <a:prstGeom prst="rect">
                <a:avLst/>
              </a:prstGeom>
            </p:spPr>
          </p:pic>
          <p:sp>
            <p:nvSpPr>
              <p:cNvPr id="62" name="TextBox 61">
                <a:extLst>
                  <a:ext uri="{FF2B5EF4-FFF2-40B4-BE49-F238E27FC236}">
                    <a16:creationId xmlns:a16="http://schemas.microsoft.com/office/drawing/2014/main" id="{35E4D099-2A28-2AFB-5B6A-5F752D18F290}"/>
                  </a:ext>
                </a:extLst>
              </p:cNvPr>
              <p:cNvSpPr txBox="1">
                <a:spLocks/>
              </p:cNvSpPr>
              <p:nvPr/>
            </p:nvSpPr>
            <p:spPr>
              <a:xfrm>
                <a:off x="5626833" y="4779651"/>
                <a:ext cx="938334" cy="215893"/>
              </a:xfrm>
              <a:prstGeom prst="rect">
                <a:avLst/>
              </a:prstGeom>
              <a:noFill/>
            </p:spPr>
            <p:txBody>
              <a:bodyPr wrap="none" lIns="0" tIns="0" rIns="0" bIns="0" rtlCol="0" anchor="ctr">
                <a:spAutoFit/>
              </a:bodyPr>
              <a:lstStyle/>
              <a:p>
                <a:pPr algn="ctr">
                  <a:lnSpc>
                    <a:spcPct val="110000"/>
                  </a:lnSpc>
                  <a:defRPr/>
                </a:pPr>
                <a:r>
                  <a:rPr lang="en-US" sz="1400">
                    <a:solidFill>
                      <a:schemeClr val="tx2"/>
                    </a:solidFill>
                    <a:latin typeface="+mj-lt"/>
                    <a:ea typeface="+mj-ea"/>
                    <a:cs typeface="+mj-cs"/>
                  </a:rPr>
                  <a:t>PowerPoint</a:t>
                </a:r>
              </a:p>
            </p:txBody>
          </p:sp>
          <p:sp>
            <p:nvSpPr>
              <p:cNvPr id="66" name="TextBox 65">
                <a:extLst>
                  <a:ext uri="{FF2B5EF4-FFF2-40B4-BE49-F238E27FC236}">
                    <a16:creationId xmlns:a16="http://schemas.microsoft.com/office/drawing/2014/main" id="{FF2B943F-38AC-D327-22BF-8ECC6694C9BC}"/>
                  </a:ext>
                </a:extLst>
              </p:cNvPr>
              <p:cNvSpPr txBox="1"/>
              <p:nvPr/>
            </p:nvSpPr>
            <p:spPr>
              <a:xfrm>
                <a:off x="5181600"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chemeClr val="tx2"/>
                    </a:solidFill>
                    <a:effectLst/>
                    <a:uLnTx/>
                    <a:uFillTx/>
                  </a:rPr>
                  <a:t>Sivluppo</a:t>
                </a:r>
                <a:r>
                  <a:rPr kumimoji="0" lang="en-US" sz="1050" b="0" i="0" u="none" strike="noStrike" kern="1200" cap="none" spc="0" normalizeH="0" baseline="0" noProof="0" dirty="0">
                    <a:ln>
                      <a:noFill/>
                    </a:ln>
                    <a:solidFill>
                      <a:schemeClr val="tx2"/>
                    </a:solidFill>
                    <a:effectLst/>
                    <a:uLnTx/>
                    <a:uFillTx/>
                  </a:rPr>
                  <a:t> e </a:t>
                </a:r>
                <a:r>
                  <a:rPr kumimoji="0" lang="en-US" sz="1050" b="0" i="0" u="none" strike="noStrike" kern="1200" cap="none" spc="0" normalizeH="0" baseline="0" noProof="0" dirty="0" err="1">
                    <a:ln>
                      <a:noFill/>
                    </a:ln>
                    <a:solidFill>
                      <a:schemeClr val="tx2"/>
                    </a:solidFill>
                    <a:effectLst/>
                    <a:uLnTx/>
                    <a:uFillTx/>
                  </a:rPr>
                  <a:t>raffinemanto</a:t>
                </a:r>
                <a:r>
                  <a:rPr kumimoji="0" lang="en-US" sz="1050" b="0" i="0" u="none" strike="noStrike" kern="1200" cap="none" spc="0" normalizeH="0" baseline="0" noProof="0" dirty="0">
                    <a:ln>
                      <a:noFill/>
                    </a:ln>
                    <a:solidFill>
                      <a:schemeClr val="tx2"/>
                    </a:solidFill>
                    <a:effectLst/>
                    <a:uLnTx/>
                    <a:uFillTx/>
                  </a:rPr>
                  <a:t> delle </a:t>
                </a:r>
                <a:r>
                  <a:rPr kumimoji="0" lang="en-US" sz="1050" b="0" i="0" u="none" strike="noStrike" kern="1200" cap="none" spc="0" normalizeH="0" baseline="0" noProof="0" dirty="0" err="1">
                    <a:ln>
                      <a:noFill/>
                    </a:ln>
                    <a:solidFill>
                      <a:schemeClr val="tx2"/>
                    </a:solidFill>
                    <a:effectLst/>
                    <a:uLnTx/>
                    <a:uFillTx/>
                  </a:rPr>
                  <a:t>presentazioni</a:t>
                </a:r>
                <a:endParaRPr kumimoji="0" lang="en-US" sz="1050" b="0" i="0" u="none" strike="noStrike" kern="1200" cap="none" spc="0" normalizeH="0" baseline="0" noProof="0" dirty="0">
                  <a:ln>
                    <a:noFill/>
                  </a:ln>
                  <a:solidFill>
                    <a:schemeClr val="tx2"/>
                  </a:solidFill>
                  <a:effectLst/>
                  <a:uLnTx/>
                  <a:uFillTx/>
                </a:endParaRPr>
              </a:p>
            </p:txBody>
          </p:sp>
          <p:sp>
            <p:nvSpPr>
              <p:cNvPr id="99" name="TextBox 98">
                <a:extLst>
                  <a:ext uri="{FF2B5EF4-FFF2-40B4-BE49-F238E27FC236}">
                    <a16:creationId xmlns:a16="http://schemas.microsoft.com/office/drawing/2014/main" id="{4F3D248B-A95E-9DF1-D7C7-4822730FB954}"/>
                  </a:ext>
                </a:extLst>
              </p:cNvPr>
              <p:cNvSpPr txBox="1">
                <a:spLocks/>
              </p:cNvSpPr>
              <p:nvPr/>
            </p:nvSpPr>
            <p:spPr>
              <a:xfrm>
                <a:off x="5181600" y="544068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8">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27" name="Group 26">
              <a:extLst>
                <a:ext uri="{FF2B5EF4-FFF2-40B4-BE49-F238E27FC236}">
                  <a16:creationId xmlns:a16="http://schemas.microsoft.com/office/drawing/2014/main" id="{0C6F47A8-B84A-B5CE-97D9-05FA9D9EB8F9}"/>
                </a:ext>
              </a:extLst>
            </p:cNvPr>
            <p:cNvGrpSpPr/>
            <p:nvPr/>
          </p:nvGrpSpPr>
          <p:grpSpPr>
            <a:xfrm>
              <a:off x="5181600" y="3022902"/>
              <a:ext cx="1828800" cy="1040233"/>
              <a:chOff x="5181600" y="2969737"/>
              <a:chExt cx="1828800" cy="1040233"/>
            </a:xfrm>
          </p:grpSpPr>
          <p:pic>
            <p:nvPicPr>
              <p:cNvPr id="26" name="Picture 25">
                <a:extLst>
                  <a:ext uri="{FF2B5EF4-FFF2-40B4-BE49-F238E27FC236}">
                    <a16:creationId xmlns:a16="http://schemas.microsoft.com/office/drawing/2014/main" id="{31C0F287-DB15-E9C7-2CAC-AD33191ED948}"/>
                  </a:ext>
                  <a:ext uri="{C183D7F6-B498-43B3-948B-1728B52AA6E4}">
                    <adec:decorative xmlns:adec="http://schemas.microsoft.com/office/drawing/2017/decorative" val="1"/>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5935980" y="2969737"/>
                <a:ext cx="320040" cy="320040"/>
              </a:xfrm>
              <a:prstGeom prst="rect">
                <a:avLst/>
              </a:prstGeom>
            </p:spPr>
          </p:pic>
          <p:sp>
            <p:nvSpPr>
              <p:cNvPr id="91" name="TextBox 90">
                <a:extLst>
                  <a:ext uri="{FF2B5EF4-FFF2-40B4-BE49-F238E27FC236}">
                    <a16:creationId xmlns:a16="http://schemas.microsoft.com/office/drawing/2014/main" id="{A8747051-782C-F2D7-61D3-DEBA6166C5B8}"/>
                  </a:ext>
                </a:extLst>
              </p:cNvPr>
              <p:cNvSpPr txBox="1"/>
              <p:nvPr/>
            </p:nvSpPr>
            <p:spPr>
              <a:xfrm>
                <a:off x="5181600"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2"/>
                    </a:solidFill>
                    <a:effectLst/>
                    <a:uLnTx/>
                    <a:uFillTx/>
                  </a:rPr>
                  <a:t>Gestione task e </a:t>
                </a:r>
                <a:r>
                  <a:rPr kumimoji="0" lang="en-US" sz="1050" b="0" i="0" u="none" strike="noStrike" kern="1200" cap="none" spc="0" normalizeH="0" baseline="0" noProof="0" dirty="0" err="1">
                    <a:ln>
                      <a:noFill/>
                    </a:ln>
                    <a:solidFill>
                      <a:schemeClr val="tx2"/>
                    </a:solidFill>
                    <a:effectLst/>
                    <a:uLnTx/>
                    <a:uFillTx/>
                  </a:rPr>
                  <a:t>progetti</a:t>
                </a:r>
                <a:endParaRPr kumimoji="0" lang="en-US" sz="1050" b="0" i="0" u="none" strike="noStrike" kern="1200" cap="none" spc="0" normalizeH="0" baseline="0" noProof="0" dirty="0">
                  <a:ln>
                    <a:noFill/>
                  </a:ln>
                  <a:solidFill>
                    <a:schemeClr val="tx2"/>
                  </a:solidFill>
                  <a:effectLst/>
                  <a:uLnTx/>
                  <a:uFillTx/>
                </a:endParaRPr>
              </a:p>
            </p:txBody>
          </p:sp>
          <p:sp>
            <p:nvSpPr>
              <p:cNvPr id="28" name="TextBox 27">
                <a:extLst>
                  <a:ext uri="{FF2B5EF4-FFF2-40B4-BE49-F238E27FC236}">
                    <a16:creationId xmlns:a16="http://schemas.microsoft.com/office/drawing/2014/main" id="{950FEB82-2264-0BAD-A3F9-720DA7D04064}"/>
                  </a:ext>
                </a:extLst>
              </p:cNvPr>
              <p:cNvSpPr txBox="1">
                <a:spLocks/>
              </p:cNvSpPr>
              <p:nvPr/>
            </p:nvSpPr>
            <p:spPr>
              <a:xfrm>
                <a:off x="5181600"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2">
                      <a:extLst>
                        <a:ext uri="{A12FA001-AC4F-418D-AE19-62706E023703}">
                          <ahyp:hlinkClr xmlns:ahyp="http://schemas.microsoft.com/office/drawing/2018/hyperlinkcolor" val="tx"/>
                        </a:ext>
                      </a:extLst>
                    </a:hlinkClick>
                  </a:rPr>
                  <a:t>Public preview</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124" name="TextBox 123">
                <a:extLst>
                  <a:ext uri="{FF2B5EF4-FFF2-40B4-BE49-F238E27FC236}">
                    <a16:creationId xmlns:a16="http://schemas.microsoft.com/office/drawing/2014/main" id="{F2F9A224-E278-B304-AA4F-5EE14C39B3EF}"/>
                  </a:ext>
                </a:extLst>
              </p:cNvPr>
              <p:cNvSpPr txBox="1">
                <a:spLocks/>
              </p:cNvSpPr>
              <p:nvPr/>
            </p:nvSpPr>
            <p:spPr>
              <a:xfrm>
                <a:off x="5421937" y="3328642"/>
                <a:ext cx="1348125" cy="221023"/>
              </a:xfrm>
              <a:prstGeom prst="rect">
                <a:avLst/>
              </a:prstGeom>
              <a:noFill/>
            </p:spPr>
            <p:txBody>
              <a:bodyPr wrap="none" lIns="0" tIns="0" rIns="0" bIns="0" rtlCol="0" anchor="ctr">
                <a:spAutoFit/>
              </a:bodyPr>
              <a:lstStyle/>
              <a:p>
                <a:pPr algn="ctr">
                  <a:lnSpc>
                    <a:spcPct val="110000"/>
                  </a:lnSpc>
                  <a:defRPr/>
                </a:pPr>
                <a:r>
                  <a:rPr lang="en-US" sz="1400">
                    <a:solidFill>
                      <a:schemeClr val="tx2"/>
                    </a:solidFill>
                    <a:latin typeface="+mj-lt"/>
                    <a:ea typeface="+mj-ea"/>
                    <a:cs typeface="+mj-cs"/>
                  </a:rPr>
                  <a:t>Project Manager</a:t>
                </a:r>
              </a:p>
            </p:txBody>
          </p:sp>
        </p:grpSp>
        <p:grpSp>
          <p:nvGrpSpPr>
            <p:cNvPr id="29" name="Group 28">
              <a:extLst>
                <a:ext uri="{FF2B5EF4-FFF2-40B4-BE49-F238E27FC236}">
                  <a16:creationId xmlns:a16="http://schemas.microsoft.com/office/drawing/2014/main" id="{17AD5350-A288-6239-C6D8-4726E633AFF0}"/>
                </a:ext>
              </a:extLst>
            </p:cNvPr>
            <p:cNvGrpSpPr/>
            <p:nvPr/>
          </p:nvGrpSpPr>
          <p:grpSpPr>
            <a:xfrm>
              <a:off x="690734" y="2988794"/>
              <a:ext cx="1828800" cy="1074341"/>
              <a:chOff x="690734" y="2935629"/>
              <a:chExt cx="1828800" cy="1074341"/>
            </a:xfrm>
          </p:grpSpPr>
          <p:sp>
            <p:nvSpPr>
              <p:cNvPr id="58" name="TextBox 57">
                <a:extLst>
                  <a:ext uri="{FF2B5EF4-FFF2-40B4-BE49-F238E27FC236}">
                    <a16:creationId xmlns:a16="http://schemas.microsoft.com/office/drawing/2014/main" id="{7E8ECACF-6FBF-5C24-55AA-684627542F53}"/>
                  </a:ext>
                </a:extLst>
              </p:cNvPr>
              <p:cNvSpPr txBox="1">
                <a:spLocks/>
              </p:cNvSpPr>
              <p:nvPr/>
            </p:nvSpPr>
            <p:spPr>
              <a:xfrm>
                <a:off x="958774" y="3328642"/>
                <a:ext cx="1292726" cy="21589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1400">
                    <a:solidFill>
                      <a:schemeClr val="tx2"/>
                    </a:solidFill>
                    <a:latin typeface="+mj-lt"/>
                    <a:ea typeface="+mj-ea"/>
                    <a:cs typeface="+mj-cs"/>
                  </a:rPr>
                  <a:t>AI in SharePoint</a:t>
                </a:r>
                <a:endParaRPr kumimoji="0" lang="en-US" sz="1400" i="0" strike="noStrike" kern="1200" cap="none" spc="0" normalizeH="0" baseline="0" noProof="0">
                  <a:ln>
                    <a:noFill/>
                  </a:ln>
                  <a:solidFill>
                    <a:schemeClr val="tx2"/>
                  </a:solidFill>
                  <a:effectLst/>
                  <a:uLnTx/>
                  <a:uFillTx/>
                  <a:latin typeface="+mj-lt"/>
                  <a:ea typeface="+mj-ea"/>
                  <a:cs typeface="+mj-cs"/>
                </a:endParaRPr>
              </a:p>
            </p:txBody>
          </p:sp>
          <p:sp>
            <p:nvSpPr>
              <p:cNvPr id="56" name="TextBox 55">
                <a:extLst>
                  <a:ext uri="{FF2B5EF4-FFF2-40B4-BE49-F238E27FC236}">
                    <a16:creationId xmlns:a16="http://schemas.microsoft.com/office/drawing/2014/main" id="{6C99ED16-921A-E18E-AB04-3DFFD52F4A83}"/>
                  </a:ext>
                </a:extLst>
              </p:cNvPr>
              <p:cNvSpPr txBox="1">
                <a:spLocks/>
              </p:cNvSpPr>
              <p:nvPr/>
            </p:nvSpPr>
            <p:spPr>
              <a:xfrm>
                <a:off x="690734"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3">
                      <a:extLst>
                        <a:ext uri="{A12FA001-AC4F-418D-AE19-62706E023703}">
                          <ahyp:hlinkClr xmlns:ahyp="http://schemas.microsoft.com/office/drawing/2018/hyperlinkcolor" val="tx"/>
                        </a:ext>
                      </a:extLst>
                    </a:hlinkClick>
                  </a:rPr>
                  <a:t>Public preview</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59" name="TextBox 58">
                <a:extLst>
                  <a:ext uri="{FF2B5EF4-FFF2-40B4-BE49-F238E27FC236}">
                    <a16:creationId xmlns:a16="http://schemas.microsoft.com/office/drawing/2014/main" id="{17D95569-EC1A-80AC-433E-F937112277AC}"/>
                  </a:ext>
                </a:extLst>
              </p:cNvPr>
              <p:cNvSpPr txBox="1"/>
              <p:nvPr/>
            </p:nvSpPr>
            <p:spPr>
              <a:xfrm>
                <a:off x="690734" y="3646434"/>
                <a:ext cx="1828800" cy="138499"/>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2"/>
                    </a:solidFill>
                    <a:effectLst/>
                    <a:uLnTx/>
                    <a:uFillTx/>
                  </a:rPr>
                  <a:t>Content mgmt. </a:t>
                </a:r>
                <a:r>
                  <a:rPr lang="en-US" sz="900" dirty="0">
                    <a:solidFill>
                      <a:schemeClr val="tx2"/>
                    </a:solidFill>
                  </a:rPr>
                  <a:t>&amp; </a:t>
                </a:r>
                <a:r>
                  <a:rPr lang="en-US" sz="900" dirty="0" err="1">
                    <a:solidFill>
                      <a:schemeClr val="tx2"/>
                    </a:solidFill>
                  </a:rPr>
                  <a:t>organizzazione</a:t>
                </a:r>
                <a:endParaRPr kumimoji="0" lang="en-US" sz="900" b="0" i="0" u="none" strike="noStrike" kern="1200" cap="none" spc="0" normalizeH="0" baseline="0" noProof="0" dirty="0">
                  <a:ln>
                    <a:noFill/>
                  </a:ln>
                  <a:solidFill>
                    <a:schemeClr val="tx2"/>
                  </a:solidFill>
                  <a:effectLst/>
                  <a:uLnTx/>
                  <a:uFillTx/>
                </a:endParaRPr>
              </a:p>
            </p:txBody>
          </p:sp>
          <p:pic>
            <p:nvPicPr>
              <p:cNvPr id="1034" name="Picture 10" descr="Download Microsoft SharePoint Logo in SVG Vector or PNG File Format - Logo.wine">
                <a:extLst>
                  <a:ext uri="{FF2B5EF4-FFF2-40B4-BE49-F238E27FC236}">
                    <a16:creationId xmlns:a16="http://schemas.microsoft.com/office/drawing/2014/main" id="{4DC6DF63-88A4-C31D-8D16-E2D7CDC5A758}"/>
                  </a:ext>
                </a:extLst>
              </p:cNvPr>
              <p:cNvPicPr>
                <a:picLocks noChangeAspect="1" noChangeArrowheads="1"/>
              </p:cNvPicPr>
              <p:nvPr/>
            </p:nvPicPr>
            <p:blipFill>
              <a:blip r:embed="rId14" cstate="hqprint">
                <a:extLst>
                  <a:ext uri="{28A0092B-C50C-407E-A947-70E740481C1C}">
                    <a14:useLocalDpi xmlns:a14="http://schemas.microsoft.com/office/drawing/2010/main"/>
                  </a:ext>
                </a:extLst>
              </a:blip>
              <a:srcRect/>
              <a:stretch>
                <a:fillRect/>
              </a:stretch>
            </p:blipFill>
            <p:spPr bwMode="auto">
              <a:xfrm>
                <a:off x="1285094" y="2935629"/>
                <a:ext cx="640080" cy="4267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60BA2D06-A87D-F178-0485-9AF01CF0A366}"/>
                </a:ext>
              </a:extLst>
            </p:cNvPr>
            <p:cNvGrpSpPr/>
            <p:nvPr/>
          </p:nvGrpSpPr>
          <p:grpSpPr>
            <a:xfrm>
              <a:off x="690734" y="1580213"/>
              <a:ext cx="1828800" cy="1081993"/>
              <a:chOff x="690734" y="1527048"/>
              <a:chExt cx="1828800" cy="1081993"/>
            </a:xfrm>
          </p:grpSpPr>
          <p:sp>
            <p:nvSpPr>
              <p:cNvPr id="36" name="TextBox 35">
                <a:extLst>
                  <a:ext uri="{FF2B5EF4-FFF2-40B4-BE49-F238E27FC236}">
                    <a16:creationId xmlns:a16="http://schemas.microsoft.com/office/drawing/2014/main" id="{826F4ADA-3E76-3ECF-9E88-713113E90DE9}"/>
                  </a:ext>
                </a:extLst>
              </p:cNvPr>
              <p:cNvSpPr txBox="1">
                <a:spLocks/>
              </p:cNvSpPr>
              <p:nvPr/>
            </p:nvSpPr>
            <p:spPr>
              <a:xfrm>
                <a:off x="690734" y="192340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i="0" strike="noStrike" kern="1200" cap="none" spc="0" normalizeH="0" baseline="0" noProof="0">
                    <a:ln>
                      <a:noFill/>
                    </a:ln>
                    <a:solidFill>
                      <a:schemeClr val="tx2"/>
                    </a:solidFill>
                    <a:effectLst/>
                    <a:uLnTx/>
                    <a:uFillTx/>
                    <a:latin typeface="+mj-lt"/>
                    <a:ea typeface="+mj-ea"/>
                    <a:cs typeface="+mj-cs"/>
                  </a:rPr>
                  <a:t>Researcher</a:t>
                </a:r>
              </a:p>
            </p:txBody>
          </p:sp>
          <p:pic>
            <p:nvPicPr>
              <p:cNvPr id="37" name="Picture 36">
                <a:extLst>
                  <a:ext uri="{FF2B5EF4-FFF2-40B4-BE49-F238E27FC236}">
                    <a16:creationId xmlns:a16="http://schemas.microsoft.com/office/drawing/2014/main" id="{C0093497-77FC-D4E0-39B2-01EB126E7B24}"/>
                  </a:ext>
                  <a:ext uri="{C183D7F6-B498-43B3-948B-1728B52AA6E4}">
                    <adec:decorative xmlns:adec="http://schemas.microsoft.com/office/drawing/2017/decorative" val="1"/>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440542" y="1527048"/>
                <a:ext cx="329184" cy="329184"/>
              </a:xfrm>
              <a:prstGeom prst="rect">
                <a:avLst/>
              </a:prstGeom>
            </p:spPr>
          </p:pic>
          <p:sp>
            <p:nvSpPr>
              <p:cNvPr id="74" name="TextBox 73">
                <a:extLst>
                  <a:ext uri="{FF2B5EF4-FFF2-40B4-BE49-F238E27FC236}">
                    <a16:creationId xmlns:a16="http://schemas.microsoft.com/office/drawing/2014/main" id="{4FE3CA29-359B-5CA4-2D1B-7C6E8E5A2747}"/>
                  </a:ext>
                </a:extLst>
              </p:cNvPr>
              <p:cNvSpPr txBox="1"/>
              <p:nvPr/>
            </p:nvSpPr>
            <p:spPr>
              <a:xfrm>
                <a:off x="690734"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Advanced reasoning</a:t>
                </a:r>
              </a:p>
            </p:txBody>
          </p:sp>
          <p:sp>
            <p:nvSpPr>
              <p:cNvPr id="35" name="TextBox 34">
                <a:extLst>
                  <a:ext uri="{FF2B5EF4-FFF2-40B4-BE49-F238E27FC236}">
                    <a16:creationId xmlns:a16="http://schemas.microsoft.com/office/drawing/2014/main" id="{7A56C071-59BB-1A0C-7E3F-A9A7326398F2}"/>
                  </a:ext>
                </a:extLst>
              </p:cNvPr>
              <p:cNvSpPr txBox="1"/>
              <p:nvPr/>
            </p:nvSpPr>
            <p:spPr>
              <a:xfrm>
                <a:off x="690734"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5">
                      <a:extLst>
                        <a:ext uri="{A12FA001-AC4F-418D-AE19-62706E023703}">
                          <ahyp:hlinkClr xmlns:ahyp="http://schemas.microsoft.com/office/drawing/2018/hyperlinkcolor" val="tx"/>
                        </a:ext>
                      </a:extLst>
                    </a:hlinkClick>
                  </a:rPr>
                  <a:t>Generally available</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40" name="Group 39">
              <a:extLst>
                <a:ext uri="{FF2B5EF4-FFF2-40B4-BE49-F238E27FC236}">
                  <a16:creationId xmlns:a16="http://schemas.microsoft.com/office/drawing/2014/main" id="{DCEBA5E0-130C-A332-2291-3071986114F8}"/>
                </a:ext>
              </a:extLst>
            </p:cNvPr>
            <p:cNvGrpSpPr/>
            <p:nvPr/>
          </p:nvGrpSpPr>
          <p:grpSpPr>
            <a:xfrm>
              <a:off x="690734" y="4448318"/>
              <a:ext cx="1828800" cy="1218297"/>
              <a:chOff x="690734" y="4395153"/>
              <a:chExt cx="1828800" cy="1218297"/>
            </a:xfrm>
          </p:grpSpPr>
          <p:sp>
            <p:nvSpPr>
              <p:cNvPr id="65" name="TextBox 64">
                <a:extLst>
                  <a:ext uri="{FF2B5EF4-FFF2-40B4-BE49-F238E27FC236}">
                    <a16:creationId xmlns:a16="http://schemas.microsoft.com/office/drawing/2014/main" id="{D6C57085-0098-C591-E579-0B95713FC7D9}"/>
                  </a:ext>
                </a:extLst>
              </p:cNvPr>
              <p:cNvSpPr txBox="1">
                <a:spLocks/>
              </p:cNvSpPr>
              <p:nvPr/>
            </p:nvSpPr>
            <p:spPr>
              <a:xfrm>
                <a:off x="690734" y="477965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i="0" strike="noStrike" kern="1200" cap="none" spc="0" normalizeH="0" baseline="0" noProof="0">
                    <a:ln>
                      <a:noFill/>
                    </a:ln>
                    <a:solidFill>
                      <a:schemeClr val="tx2"/>
                    </a:solidFill>
                    <a:effectLst/>
                    <a:uLnTx/>
                    <a:uFillTx/>
                    <a:latin typeface="+mj-lt"/>
                    <a:ea typeface="+mj-ea"/>
                    <a:cs typeface="+mj-cs"/>
                  </a:rPr>
                  <a:t>Word</a:t>
                </a:r>
              </a:p>
            </p:txBody>
          </p:sp>
          <p:sp>
            <p:nvSpPr>
              <p:cNvPr id="68" name="TextBox 67">
                <a:extLst>
                  <a:ext uri="{FF2B5EF4-FFF2-40B4-BE49-F238E27FC236}">
                    <a16:creationId xmlns:a16="http://schemas.microsoft.com/office/drawing/2014/main" id="{8EBAACEB-C1E5-E3BF-13C6-17CE95CA04DB}"/>
                  </a:ext>
                </a:extLst>
              </p:cNvPr>
              <p:cNvSpPr txBox="1"/>
              <p:nvPr/>
            </p:nvSpPr>
            <p:spPr>
              <a:xfrm>
                <a:off x="690734" y="5161299"/>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chemeClr val="tx2"/>
                    </a:solidFill>
                    <a:effectLst/>
                    <a:uLnTx/>
                    <a:uFillTx/>
                  </a:rPr>
                  <a:t>Creazione</a:t>
                </a:r>
                <a:r>
                  <a:rPr kumimoji="0" lang="en-US" sz="1050" b="0" i="0" u="none" strike="noStrike" kern="1200" cap="none" spc="0" normalizeH="0" baseline="0" noProof="0" dirty="0">
                    <a:ln>
                      <a:noFill/>
                    </a:ln>
                    <a:solidFill>
                      <a:schemeClr val="tx2"/>
                    </a:solidFill>
                    <a:effectLst/>
                    <a:uLnTx/>
                    <a:uFillTx/>
                  </a:rPr>
                  <a:t> di </a:t>
                </a:r>
                <a:r>
                  <a:rPr kumimoji="0" lang="en-US" sz="1050" b="0" i="0" u="none" strike="noStrike" kern="1200" cap="none" spc="0" normalizeH="0" baseline="0" noProof="0" dirty="0" err="1">
                    <a:ln>
                      <a:noFill/>
                    </a:ln>
                    <a:solidFill>
                      <a:schemeClr val="tx2"/>
                    </a:solidFill>
                    <a:effectLst/>
                    <a:uLnTx/>
                    <a:uFillTx/>
                  </a:rPr>
                  <a:t>documenti</a:t>
                </a:r>
                <a:endParaRPr kumimoji="0" lang="en-US" sz="1050" b="0" i="0" u="none" strike="noStrike" kern="1200" cap="none" spc="0" normalizeH="0" baseline="0" noProof="0" dirty="0">
                  <a:ln>
                    <a:noFill/>
                  </a:ln>
                  <a:solidFill>
                    <a:schemeClr val="tx2"/>
                  </a:solidFill>
                  <a:effectLst/>
                  <a:uLnTx/>
                  <a:uFillTx/>
                </a:endParaRPr>
              </a:p>
            </p:txBody>
          </p:sp>
          <p:sp>
            <p:nvSpPr>
              <p:cNvPr id="97" name="TextBox 96">
                <a:extLst>
                  <a:ext uri="{FF2B5EF4-FFF2-40B4-BE49-F238E27FC236}">
                    <a16:creationId xmlns:a16="http://schemas.microsoft.com/office/drawing/2014/main" id="{C5486DDE-CC30-C3F9-1B52-DFDCB2924805}"/>
                  </a:ext>
                </a:extLst>
              </p:cNvPr>
              <p:cNvSpPr txBox="1">
                <a:spLocks/>
              </p:cNvSpPr>
              <p:nvPr/>
            </p:nvSpPr>
            <p:spPr>
              <a:xfrm>
                <a:off x="690734" y="544417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8">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pic>
            <p:nvPicPr>
              <p:cNvPr id="33" name="Picture 32" descr="A logo with a black background  AI-generated content may be incorrect.">
                <a:extLst>
                  <a:ext uri="{FF2B5EF4-FFF2-40B4-BE49-F238E27FC236}">
                    <a16:creationId xmlns:a16="http://schemas.microsoft.com/office/drawing/2014/main" id="{74A8FA45-0ADF-4713-1A49-FACB039ADA07}"/>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1458831" y="4395153"/>
                <a:ext cx="292608" cy="292608"/>
              </a:xfrm>
              <a:prstGeom prst="rect">
                <a:avLst/>
              </a:prstGeom>
            </p:spPr>
          </p:pic>
        </p:grpSp>
        <p:grpSp>
          <p:nvGrpSpPr>
            <p:cNvPr id="22" name="Group 21">
              <a:extLst>
                <a:ext uri="{FF2B5EF4-FFF2-40B4-BE49-F238E27FC236}">
                  <a16:creationId xmlns:a16="http://schemas.microsoft.com/office/drawing/2014/main" id="{285E0F64-5DFC-8DC3-06FF-B35E59EB5CAF}"/>
                </a:ext>
              </a:extLst>
            </p:cNvPr>
            <p:cNvGrpSpPr/>
            <p:nvPr/>
          </p:nvGrpSpPr>
          <p:grpSpPr>
            <a:xfrm>
              <a:off x="7427033" y="3062745"/>
              <a:ext cx="1828800" cy="1000390"/>
              <a:chOff x="7427033" y="3009580"/>
              <a:chExt cx="1828800" cy="1000390"/>
            </a:xfrm>
          </p:grpSpPr>
          <p:sp>
            <p:nvSpPr>
              <p:cNvPr id="32" name="TextBox 31">
                <a:extLst>
                  <a:ext uri="{FF2B5EF4-FFF2-40B4-BE49-F238E27FC236}">
                    <a16:creationId xmlns:a16="http://schemas.microsoft.com/office/drawing/2014/main" id="{7F6F4C93-A9D0-7FA7-2577-8E8B59820944}"/>
                  </a:ext>
                </a:extLst>
              </p:cNvPr>
              <p:cNvSpPr txBox="1">
                <a:spLocks/>
              </p:cNvSpPr>
              <p:nvPr/>
            </p:nvSpPr>
            <p:spPr>
              <a:xfrm>
                <a:off x="7427033"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7">
                      <a:extLst>
                        <a:ext uri="{A12FA001-AC4F-418D-AE19-62706E023703}">
                          <ahyp:hlinkClr xmlns:ahyp="http://schemas.microsoft.com/office/drawing/2018/hyperlinkcolor" val="tx"/>
                        </a:ext>
                      </a:extLst>
                    </a:hlinkClick>
                  </a:rPr>
                  <a:t>Public preview</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44" name="TextBox 43">
                <a:extLst>
                  <a:ext uri="{FF2B5EF4-FFF2-40B4-BE49-F238E27FC236}">
                    <a16:creationId xmlns:a16="http://schemas.microsoft.com/office/drawing/2014/main" id="{AC0CE84C-3BA1-0C9E-A397-3FCAA138387C}"/>
                  </a:ext>
                </a:extLst>
              </p:cNvPr>
              <p:cNvSpPr txBox="1">
                <a:spLocks/>
              </p:cNvSpPr>
              <p:nvPr/>
            </p:nvSpPr>
            <p:spPr>
              <a:xfrm>
                <a:off x="7796412" y="3328642"/>
                <a:ext cx="1090042"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1400">
                    <a:solidFill>
                      <a:schemeClr val="tx2"/>
                    </a:solidFill>
                    <a:effectLst/>
                    <a:latin typeface="+mj-lt"/>
                    <a:ea typeface="+mj-ea"/>
                    <a:cs typeface="+mj-cs"/>
                  </a:rPr>
                  <a:t>Communities</a:t>
                </a:r>
                <a:endParaRPr kumimoji="0" lang="en-US" sz="1400" i="0" strike="noStrike" kern="1200" cap="none" spc="0" normalizeH="0" baseline="0" noProof="0">
                  <a:ln>
                    <a:noFill/>
                  </a:ln>
                  <a:solidFill>
                    <a:schemeClr val="tx2"/>
                  </a:solidFill>
                  <a:effectLst/>
                  <a:uLnTx/>
                  <a:uFillTx/>
                  <a:latin typeface="+mj-lt"/>
                  <a:ea typeface="+mj-ea"/>
                  <a:cs typeface="+mj-cs"/>
                </a:endParaRPr>
              </a:p>
            </p:txBody>
          </p:sp>
          <p:sp>
            <p:nvSpPr>
              <p:cNvPr id="49" name="TextBox 48">
                <a:extLst>
                  <a:ext uri="{FF2B5EF4-FFF2-40B4-BE49-F238E27FC236}">
                    <a16:creationId xmlns:a16="http://schemas.microsoft.com/office/drawing/2014/main" id="{4C5560B6-D700-EA85-64D2-B217D99BF6D6}"/>
                  </a:ext>
                </a:extLst>
              </p:cNvPr>
              <p:cNvSpPr txBox="1"/>
              <p:nvPr/>
            </p:nvSpPr>
            <p:spPr>
              <a:xfrm>
                <a:off x="7427033"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2"/>
                    </a:solidFill>
                    <a:effectLst/>
                    <a:uLnTx/>
                    <a:uFillTx/>
                  </a:rPr>
                  <a:t>Gestione Community</a:t>
                </a:r>
              </a:p>
            </p:txBody>
          </p:sp>
          <p:pic>
            <p:nvPicPr>
              <p:cNvPr id="50" name="Picture 2" descr="Microsoft Viva Engage">
                <a:extLst>
                  <a:ext uri="{FF2B5EF4-FFF2-40B4-BE49-F238E27FC236}">
                    <a16:creationId xmlns:a16="http://schemas.microsoft.com/office/drawing/2014/main" id="{8B8C9307-2C24-50F5-B688-C31E76B79940}"/>
                  </a:ext>
                </a:extLst>
              </p:cNvPr>
              <p:cNvPicPr>
                <a:picLocks noChangeAspect="1" noChangeArrowheads="1"/>
              </p:cNvPicPr>
              <p:nvPr/>
            </p:nvPicPr>
            <p:blipFill>
              <a:blip r:embed="rId18" cstate="hqprint">
                <a:extLst>
                  <a:ext uri="{28A0092B-C50C-407E-A947-70E740481C1C}">
                    <a14:useLocalDpi xmlns:a14="http://schemas.microsoft.com/office/drawing/2010/main"/>
                  </a:ext>
                </a:extLst>
              </a:blip>
              <a:srcRect/>
              <a:stretch>
                <a:fillRect/>
              </a:stretch>
            </p:blipFill>
            <p:spPr bwMode="auto">
              <a:xfrm>
                <a:off x="8195128" y="3009580"/>
                <a:ext cx="292608" cy="2926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D404D6D4-14A0-894B-1AFB-F83398DF8C93}"/>
                </a:ext>
              </a:extLst>
            </p:cNvPr>
            <p:cNvGrpSpPr/>
            <p:nvPr/>
          </p:nvGrpSpPr>
          <p:grpSpPr>
            <a:xfrm>
              <a:off x="7427033" y="1435262"/>
              <a:ext cx="1828800" cy="1226944"/>
              <a:chOff x="7427033" y="1382097"/>
              <a:chExt cx="1828800" cy="1226944"/>
            </a:xfrm>
          </p:grpSpPr>
          <p:sp>
            <p:nvSpPr>
              <p:cNvPr id="9" name="TextBox 8">
                <a:extLst>
                  <a:ext uri="{FF2B5EF4-FFF2-40B4-BE49-F238E27FC236}">
                    <a16:creationId xmlns:a16="http://schemas.microsoft.com/office/drawing/2014/main" id="{B6F4B600-9389-600E-8F79-A3036786FB37}"/>
                  </a:ext>
                </a:extLst>
              </p:cNvPr>
              <p:cNvSpPr txBox="1">
                <a:spLocks/>
              </p:cNvSpPr>
              <p:nvPr/>
            </p:nvSpPr>
            <p:spPr>
              <a:xfrm>
                <a:off x="7427033"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9">
                      <a:extLst>
                        <a:ext uri="{A12FA001-AC4F-418D-AE19-62706E023703}">
                          <ahyp:hlinkClr xmlns:ahyp="http://schemas.microsoft.com/office/drawing/2018/hyperlinkcolor" val="tx"/>
                        </a:ext>
                      </a:extLst>
                    </a:hlinkClick>
                  </a:rPr>
                  <a:t>Generally available </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11" name="TextBox 10">
                <a:extLst>
                  <a:ext uri="{FF2B5EF4-FFF2-40B4-BE49-F238E27FC236}">
                    <a16:creationId xmlns:a16="http://schemas.microsoft.com/office/drawing/2014/main" id="{3A0A82CE-141C-E3B7-D72F-100C004D2743}"/>
                  </a:ext>
                </a:extLst>
              </p:cNvPr>
              <p:cNvSpPr txBox="1">
                <a:spLocks/>
              </p:cNvSpPr>
              <p:nvPr/>
            </p:nvSpPr>
            <p:spPr>
              <a:xfrm>
                <a:off x="7892592" y="1923401"/>
                <a:ext cx="897682"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i="0" strike="noStrike" kern="1200" cap="none" spc="0" normalizeH="0" baseline="0" noProof="0">
                    <a:ln>
                      <a:noFill/>
                    </a:ln>
                    <a:solidFill>
                      <a:schemeClr val="tx2"/>
                    </a:solidFill>
                    <a:effectLst/>
                    <a:uLnTx/>
                    <a:uFillTx/>
                    <a:latin typeface="+mj-lt"/>
                    <a:ea typeface="+mj-ea"/>
                    <a:cs typeface="+mj-cs"/>
                  </a:rPr>
                  <a:t>Interpreter</a:t>
                </a:r>
              </a:p>
            </p:txBody>
          </p:sp>
          <p:pic>
            <p:nvPicPr>
              <p:cNvPr id="13" name="Picture 12">
                <a:extLst>
                  <a:ext uri="{FF2B5EF4-FFF2-40B4-BE49-F238E27FC236}">
                    <a16:creationId xmlns:a16="http://schemas.microsoft.com/office/drawing/2014/main" id="{DBF5E6DA-859F-4E0D-59F8-C772BCB28C49}"/>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8034989" y="1382097"/>
                <a:ext cx="612888" cy="612888"/>
              </a:xfrm>
              <a:prstGeom prst="rect">
                <a:avLst/>
              </a:prstGeom>
            </p:spPr>
          </p:pic>
          <p:sp>
            <p:nvSpPr>
              <p:cNvPr id="92" name="TextBox 91">
                <a:extLst>
                  <a:ext uri="{FF2B5EF4-FFF2-40B4-BE49-F238E27FC236}">
                    <a16:creationId xmlns:a16="http://schemas.microsoft.com/office/drawing/2014/main" id="{B29D6E71-6600-CFDA-3FD7-7E0E741D90BB}"/>
                  </a:ext>
                </a:extLst>
              </p:cNvPr>
              <p:cNvSpPr txBox="1"/>
              <p:nvPr/>
            </p:nvSpPr>
            <p:spPr>
              <a:xfrm>
                <a:off x="7427033" y="2145387"/>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chemeClr val="tx2"/>
                    </a:solidFill>
                    <a:effectLst/>
                    <a:uLnTx/>
                    <a:uFillTx/>
                  </a:rPr>
                  <a:t>Traduttore</a:t>
                </a:r>
                <a:r>
                  <a:rPr kumimoji="0" lang="en-US" sz="1050" b="0" i="0" u="none" strike="noStrike" kern="1200" cap="none" spc="0" normalizeH="0" baseline="0" noProof="0" dirty="0">
                    <a:ln>
                      <a:noFill/>
                    </a:ln>
                    <a:solidFill>
                      <a:schemeClr val="tx2"/>
                    </a:solidFill>
                    <a:effectLst/>
                    <a:uLnTx/>
                    <a:uFillTx/>
                  </a:rPr>
                  <a:t> </a:t>
                </a:r>
                <a:r>
                  <a:rPr kumimoji="0" lang="en-US" sz="1050" b="0" i="0" u="none" strike="noStrike" kern="1200" cap="none" spc="0" normalizeH="0" baseline="0" noProof="0" dirty="0" err="1">
                    <a:ln>
                      <a:noFill/>
                    </a:ln>
                    <a:solidFill>
                      <a:schemeClr val="tx2"/>
                    </a:solidFill>
                    <a:effectLst/>
                    <a:uLnTx/>
                    <a:uFillTx/>
                  </a:rPr>
                  <a:t>simultaneo</a:t>
                </a:r>
                <a:r>
                  <a:rPr kumimoji="0" lang="en-US" sz="1050" b="0" i="0" u="none" strike="noStrike" kern="1200" cap="none" spc="0" normalizeH="0" baseline="0" noProof="0" dirty="0">
                    <a:ln>
                      <a:noFill/>
                    </a:ln>
                    <a:solidFill>
                      <a:schemeClr val="tx2"/>
                    </a:solidFill>
                    <a:effectLst/>
                    <a:uLnTx/>
                    <a:uFillTx/>
                  </a:rPr>
                  <a:t> multi-lingua</a:t>
                </a:r>
              </a:p>
            </p:txBody>
          </p:sp>
        </p:grpSp>
        <p:grpSp>
          <p:nvGrpSpPr>
            <p:cNvPr id="47" name="Group 46">
              <a:extLst>
                <a:ext uri="{FF2B5EF4-FFF2-40B4-BE49-F238E27FC236}">
                  <a16:creationId xmlns:a16="http://schemas.microsoft.com/office/drawing/2014/main" id="{5AF899AA-7E54-3861-A7D9-2F5B9CFB3F52}"/>
                </a:ext>
              </a:extLst>
            </p:cNvPr>
            <p:cNvGrpSpPr/>
            <p:nvPr/>
          </p:nvGrpSpPr>
          <p:grpSpPr>
            <a:xfrm>
              <a:off x="7427033" y="4448318"/>
              <a:ext cx="1828800" cy="1220392"/>
              <a:chOff x="7427033" y="4395153"/>
              <a:chExt cx="1828800" cy="1220392"/>
            </a:xfrm>
          </p:grpSpPr>
          <p:sp>
            <p:nvSpPr>
              <p:cNvPr id="82" name="TextBox 81">
                <a:extLst>
                  <a:ext uri="{FF2B5EF4-FFF2-40B4-BE49-F238E27FC236}">
                    <a16:creationId xmlns:a16="http://schemas.microsoft.com/office/drawing/2014/main" id="{9431EAE0-DDC9-FDCE-50B2-997C5CFD956B}"/>
                  </a:ext>
                </a:extLst>
              </p:cNvPr>
              <p:cNvSpPr txBox="1">
                <a:spLocks/>
              </p:cNvSpPr>
              <p:nvPr/>
            </p:nvSpPr>
            <p:spPr>
              <a:xfrm>
                <a:off x="8064113" y="4779651"/>
                <a:ext cx="554639" cy="221023"/>
              </a:xfrm>
              <a:prstGeom prst="rect">
                <a:avLst/>
              </a:prstGeom>
              <a:noFill/>
            </p:spPr>
            <p:txBody>
              <a:bodyPr wrap="none" lIns="0" tIns="0" rIns="0" bIns="0" rtlCol="0" anchor="ctr">
                <a:spAutoFit/>
              </a:bodyPr>
              <a:lstStyle/>
              <a:p>
                <a:pPr algn="ctr">
                  <a:lnSpc>
                    <a:spcPct val="110000"/>
                  </a:lnSpc>
                  <a:defRPr/>
                </a:pPr>
                <a:r>
                  <a:rPr lang="en-US" sz="1400">
                    <a:solidFill>
                      <a:schemeClr val="tx2"/>
                    </a:solidFill>
                    <a:latin typeface="+mj-lt"/>
                    <a:ea typeface="+mj-ea"/>
                    <a:cs typeface="+mj-cs"/>
                  </a:rPr>
                  <a:t>People</a:t>
                </a:r>
              </a:p>
            </p:txBody>
          </p:sp>
          <p:sp>
            <p:nvSpPr>
              <p:cNvPr id="83" name="TextBox 82">
                <a:extLst>
                  <a:ext uri="{FF2B5EF4-FFF2-40B4-BE49-F238E27FC236}">
                    <a16:creationId xmlns:a16="http://schemas.microsoft.com/office/drawing/2014/main" id="{1910008F-6AA1-9204-ACB3-E9A2036953B0}"/>
                  </a:ext>
                </a:extLst>
              </p:cNvPr>
              <p:cNvSpPr txBox="1"/>
              <p:nvPr/>
            </p:nvSpPr>
            <p:spPr>
              <a:xfrm>
                <a:off x="7427033"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2"/>
                    </a:solidFill>
                    <a:effectLst/>
                    <a:uLnTx/>
                    <a:uFillTx/>
                  </a:rPr>
                  <a:t>Aiuto per </a:t>
                </a:r>
                <a:r>
                  <a:rPr kumimoji="0" lang="en-US" sz="1050" b="0" i="0" u="none" strike="noStrike" kern="1200" cap="none" spc="0" normalizeH="0" baseline="0" noProof="0" dirty="0" err="1">
                    <a:ln>
                      <a:noFill/>
                    </a:ln>
                    <a:solidFill>
                      <a:schemeClr val="tx2"/>
                    </a:solidFill>
                    <a:effectLst/>
                    <a:uLnTx/>
                    <a:uFillTx/>
                  </a:rPr>
                  <a:t>gestire</a:t>
                </a:r>
                <a:r>
                  <a:rPr kumimoji="0" lang="en-US" sz="1050" b="0" i="0" u="none" strike="noStrike" kern="1200" cap="none" spc="0" normalizeH="0" baseline="0" noProof="0" dirty="0">
                    <a:ln>
                      <a:noFill/>
                    </a:ln>
                    <a:solidFill>
                      <a:schemeClr val="tx2"/>
                    </a:solidFill>
                    <a:effectLst/>
                    <a:uLnTx/>
                    <a:uFillTx/>
                  </a:rPr>
                  <a:t> le </a:t>
                </a:r>
                <a:r>
                  <a:rPr kumimoji="0" lang="en-US" sz="1050" b="0" i="0" u="none" strike="noStrike" kern="1200" cap="none" spc="0" normalizeH="0" baseline="0" noProof="0" dirty="0" err="1">
                    <a:ln>
                      <a:noFill/>
                    </a:ln>
                    <a:solidFill>
                      <a:schemeClr val="tx2"/>
                    </a:solidFill>
                    <a:effectLst/>
                    <a:uLnTx/>
                    <a:uFillTx/>
                  </a:rPr>
                  <a:t>connessioni</a:t>
                </a:r>
                <a:r>
                  <a:rPr kumimoji="0" lang="en-US" sz="1050" b="0" i="0" u="none" strike="noStrike" kern="1200" cap="none" spc="0" normalizeH="0" baseline="0" noProof="0" dirty="0">
                    <a:ln>
                      <a:noFill/>
                    </a:ln>
                    <a:solidFill>
                      <a:schemeClr val="tx2"/>
                    </a:solidFill>
                    <a:effectLst/>
                    <a:uLnTx/>
                    <a:uFillTx/>
                  </a:rPr>
                  <a:t> </a:t>
                </a:r>
                <a:r>
                  <a:rPr kumimoji="0" lang="en-US" sz="1050" b="0" i="0" u="none" strike="noStrike" kern="1200" cap="none" spc="0" normalizeH="0" baseline="0" noProof="0" dirty="0" err="1">
                    <a:ln>
                      <a:noFill/>
                    </a:ln>
                    <a:solidFill>
                      <a:schemeClr val="tx2"/>
                    </a:solidFill>
                    <a:effectLst/>
                    <a:uLnTx/>
                    <a:uFillTx/>
                  </a:rPr>
                  <a:t>lavorative</a:t>
                </a:r>
                <a:endParaRPr kumimoji="0" lang="en-US" sz="1050" b="0" i="0" u="none" strike="noStrike" kern="1200" cap="none" spc="0" normalizeH="0" baseline="0" noProof="0" dirty="0">
                  <a:ln>
                    <a:noFill/>
                  </a:ln>
                  <a:solidFill>
                    <a:schemeClr val="tx2"/>
                  </a:solidFill>
                  <a:effectLst/>
                  <a:uLnTx/>
                  <a:uFillTx/>
                </a:endParaRPr>
              </a:p>
            </p:txBody>
          </p:sp>
          <p:sp>
            <p:nvSpPr>
              <p:cNvPr id="102" name="TextBox 101">
                <a:extLst>
                  <a:ext uri="{FF2B5EF4-FFF2-40B4-BE49-F238E27FC236}">
                    <a16:creationId xmlns:a16="http://schemas.microsoft.com/office/drawing/2014/main" id="{DC82D519-CE46-154A-A20D-AED04D12A582}"/>
                  </a:ext>
                </a:extLst>
              </p:cNvPr>
              <p:cNvSpPr txBox="1">
                <a:spLocks/>
              </p:cNvSpPr>
              <p:nvPr/>
            </p:nvSpPr>
            <p:spPr>
              <a:xfrm>
                <a:off x="7427033" y="5446268"/>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8">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pic>
            <p:nvPicPr>
              <p:cNvPr id="38" name="Picture 37">
                <a:extLst>
                  <a:ext uri="{FF2B5EF4-FFF2-40B4-BE49-F238E27FC236}">
                    <a16:creationId xmlns:a16="http://schemas.microsoft.com/office/drawing/2014/main" id="{55B2A5D8-0E60-726E-80E3-D78E877176F1}"/>
                  </a:ext>
                  <a:ext uri="{C183D7F6-B498-43B3-948B-1728B52AA6E4}">
                    <adec:decorative xmlns:adec="http://schemas.microsoft.com/office/drawing/2017/decorative" val="1"/>
                  </a:ext>
                </a:extLst>
              </p:cNvPr>
              <p:cNvPicPr>
                <a:picLocks noChangeAspect="1"/>
              </p:cNvPicPr>
              <p:nvPr/>
            </p:nvPicPr>
            <p:blipFill>
              <a:blip r:embed="rId20" cstate="hqprint">
                <a:extLst>
                  <a:ext uri="{28A0092B-C50C-407E-A947-70E740481C1C}">
                    <a14:useLocalDpi xmlns:a14="http://schemas.microsoft.com/office/drawing/2010/main"/>
                  </a:ext>
                </a:extLst>
              </a:blip>
              <a:srcRect/>
              <a:stretch/>
            </p:blipFill>
            <p:spPr>
              <a:xfrm>
                <a:off x="8176840" y="4395153"/>
                <a:ext cx="329184" cy="329184"/>
              </a:xfrm>
              <a:prstGeom prst="rect">
                <a:avLst/>
              </a:prstGeom>
            </p:spPr>
          </p:pic>
        </p:grpSp>
        <p:grpSp>
          <p:nvGrpSpPr>
            <p:cNvPr id="18" name="Group 17">
              <a:extLst>
                <a:ext uri="{FF2B5EF4-FFF2-40B4-BE49-F238E27FC236}">
                  <a16:creationId xmlns:a16="http://schemas.microsoft.com/office/drawing/2014/main" id="{15714022-790E-2BA0-A521-A889057CBBFE}"/>
                </a:ext>
              </a:extLst>
            </p:cNvPr>
            <p:cNvGrpSpPr/>
            <p:nvPr/>
          </p:nvGrpSpPr>
          <p:grpSpPr>
            <a:xfrm>
              <a:off x="9672465" y="1435262"/>
              <a:ext cx="1828800" cy="1226944"/>
              <a:chOff x="9672465" y="1382097"/>
              <a:chExt cx="1828800" cy="1226944"/>
            </a:xfrm>
          </p:grpSpPr>
          <p:sp>
            <p:nvSpPr>
              <p:cNvPr id="7" name="TextBox 6">
                <a:extLst>
                  <a:ext uri="{FF2B5EF4-FFF2-40B4-BE49-F238E27FC236}">
                    <a16:creationId xmlns:a16="http://schemas.microsoft.com/office/drawing/2014/main" id="{0CA95669-4149-6054-CDAC-ADAC7750A3BC}"/>
                  </a:ext>
                </a:extLst>
              </p:cNvPr>
              <p:cNvSpPr txBox="1">
                <a:spLocks/>
              </p:cNvSpPr>
              <p:nvPr/>
            </p:nvSpPr>
            <p:spPr>
              <a:xfrm>
                <a:off x="9672465"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9">
                      <a:extLst>
                        <a:ext uri="{A12FA001-AC4F-418D-AE19-62706E023703}">
                          <ahyp:hlinkClr xmlns:ahyp="http://schemas.microsoft.com/office/drawing/2018/hyperlinkcolor" val="tx"/>
                        </a:ext>
                      </a:extLst>
                    </a:hlinkClick>
                  </a:rPr>
                  <a:t>Generally available</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6" name="TextBox 5">
                <a:extLst>
                  <a:ext uri="{FF2B5EF4-FFF2-40B4-BE49-F238E27FC236}">
                    <a16:creationId xmlns:a16="http://schemas.microsoft.com/office/drawing/2014/main" id="{A50DFCFA-1DDD-8E8E-B645-B125B78D4849}"/>
                  </a:ext>
                </a:extLst>
              </p:cNvPr>
              <p:cNvSpPr txBox="1">
                <a:spLocks/>
              </p:cNvSpPr>
              <p:nvPr/>
            </p:nvSpPr>
            <p:spPr>
              <a:xfrm>
                <a:off x="10179702" y="1923401"/>
                <a:ext cx="814325"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1400">
                    <a:solidFill>
                      <a:schemeClr val="tx2"/>
                    </a:solidFill>
                    <a:latin typeface="+mj-lt"/>
                    <a:ea typeface="+mj-ea"/>
                    <a:cs typeface="+mj-cs"/>
                  </a:rPr>
                  <a:t>Facilitator</a:t>
                </a:r>
                <a:endParaRPr kumimoji="0" lang="en-US" sz="1400" i="0" u="none" strike="noStrike" kern="1200" cap="none" spc="0" normalizeH="0" baseline="0" noProof="0">
                  <a:ln>
                    <a:noFill/>
                  </a:ln>
                  <a:solidFill>
                    <a:schemeClr val="tx2"/>
                  </a:solidFill>
                  <a:effectLst/>
                  <a:uLnTx/>
                  <a:uFillTx/>
                  <a:latin typeface="+mj-lt"/>
                  <a:ea typeface="+mj-ea"/>
                  <a:cs typeface="+mj-cs"/>
                </a:endParaRPr>
              </a:p>
            </p:txBody>
          </p:sp>
          <p:pic>
            <p:nvPicPr>
              <p:cNvPr id="8" name="Picture 7">
                <a:extLst>
                  <a:ext uri="{FF2B5EF4-FFF2-40B4-BE49-F238E27FC236}">
                    <a16:creationId xmlns:a16="http://schemas.microsoft.com/office/drawing/2014/main" id="{B71BC421-A7D7-14C5-D93E-EBD8D9CD90C4}"/>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0280421" y="1382097"/>
                <a:ext cx="612888" cy="612888"/>
              </a:xfrm>
              <a:prstGeom prst="rect">
                <a:avLst/>
              </a:prstGeom>
            </p:spPr>
          </p:pic>
          <p:sp>
            <p:nvSpPr>
              <p:cNvPr id="89" name="TextBox 88">
                <a:extLst>
                  <a:ext uri="{FF2B5EF4-FFF2-40B4-BE49-F238E27FC236}">
                    <a16:creationId xmlns:a16="http://schemas.microsoft.com/office/drawing/2014/main" id="{EA591F08-9857-7E20-34C2-D5D3FA3FBCCF}"/>
                  </a:ext>
                </a:extLst>
              </p:cNvPr>
              <p:cNvSpPr txBox="1"/>
              <p:nvPr/>
            </p:nvSpPr>
            <p:spPr>
              <a:xfrm>
                <a:off x="9672465" y="2145387"/>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2"/>
                    </a:solidFill>
                    <a:effectLst/>
                    <a:uLnTx/>
                    <a:uFillTx/>
                  </a:rPr>
                  <a:t>Aiuto e </a:t>
                </a:r>
                <a:r>
                  <a:rPr kumimoji="0" lang="en-US" sz="1050" b="0" i="0" u="none" strike="noStrike" kern="1200" cap="none" spc="0" normalizeH="0" baseline="0" noProof="0" dirty="0" err="1">
                    <a:ln>
                      <a:noFill/>
                    </a:ln>
                    <a:solidFill>
                      <a:schemeClr val="tx2"/>
                    </a:solidFill>
                    <a:effectLst/>
                    <a:uLnTx/>
                    <a:uFillTx/>
                  </a:rPr>
                  <a:t>modernazione</a:t>
                </a:r>
                <a:r>
                  <a:rPr kumimoji="0" lang="en-US" sz="1050" b="0" i="0" u="none" strike="noStrike" kern="1200" cap="none" spc="0" normalizeH="0" baseline="0" noProof="0" dirty="0">
                    <a:ln>
                      <a:noFill/>
                    </a:ln>
                    <a:solidFill>
                      <a:schemeClr val="tx2"/>
                    </a:solidFill>
                    <a:effectLst/>
                    <a:uLnTx/>
                    <a:uFillTx/>
                  </a:rPr>
                  <a:t> </a:t>
                </a:r>
                <a:r>
                  <a:rPr kumimoji="0" lang="en-US" sz="1050" b="0" i="0" u="none" strike="noStrike" kern="1200" cap="none" spc="0" normalizeH="0" baseline="0" noProof="0" dirty="0" err="1">
                    <a:ln>
                      <a:noFill/>
                    </a:ln>
                    <a:solidFill>
                      <a:schemeClr val="tx2"/>
                    </a:solidFill>
                    <a:effectLst/>
                    <a:uLnTx/>
                    <a:uFillTx/>
                  </a:rPr>
                  <a:t>nei</a:t>
                </a:r>
                <a:r>
                  <a:rPr kumimoji="0" lang="en-US" sz="1050" b="0" i="0" u="none" strike="noStrike" kern="1200" cap="none" spc="0" normalizeH="0" baseline="0" noProof="0" dirty="0">
                    <a:ln>
                      <a:noFill/>
                    </a:ln>
                    <a:solidFill>
                      <a:schemeClr val="tx2"/>
                    </a:solidFill>
                    <a:effectLst/>
                    <a:uLnTx/>
                    <a:uFillTx/>
                  </a:rPr>
                  <a:t> Teams meeting</a:t>
                </a:r>
              </a:p>
            </p:txBody>
          </p:sp>
        </p:grpSp>
        <p:grpSp>
          <p:nvGrpSpPr>
            <p:cNvPr id="20" name="Group 19">
              <a:extLst>
                <a:ext uri="{FF2B5EF4-FFF2-40B4-BE49-F238E27FC236}">
                  <a16:creationId xmlns:a16="http://schemas.microsoft.com/office/drawing/2014/main" id="{A24260A8-5F42-EEDA-BF6F-F080651B9B02}"/>
                </a:ext>
              </a:extLst>
            </p:cNvPr>
            <p:cNvGrpSpPr/>
            <p:nvPr/>
          </p:nvGrpSpPr>
          <p:grpSpPr>
            <a:xfrm>
              <a:off x="9672465" y="3027039"/>
              <a:ext cx="1828800" cy="1036096"/>
              <a:chOff x="9672465" y="2973874"/>
              <a:chExt cx="1828800" cy="1036096"/>
            </a:xfrm>
          </p:grpSpPr>
          <p:sp>
            <p:nvSpPr>
              <p:cNvPr id="77" name="TextBox 76">
                <a:extLst>
                  <a:ext uri="{FF2B5EF4-FFF2-40B4-BE49-F238E27FC236}">
                    <a16:creationId xmlns:a16="http://schemas.microsoft.com/office/drawing/2014/main" id="{78F44E0A-C818-A8B2-8DCB-5D5B6F971415}"/>
                  </a:ext>
                </a:extLst>
              </p:cNvPr>
              <p:cNvSpPr txBox="1"/>
              <p:nvPr/>
            </p:nvSpPr>
            <p:spPr>
              <a:xfrm>
                <a:off x="9672465"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2"/>
                    </a:solidFill>
                    <a:effectLst/>
                    <a:uLnTx/>
                    <a:uFillTx/>
                  </a:rPr>
                  <a:t>Organizational insights</a:t>
                </a:r>
              </a:p>
            </p:txBody>
          </p:sp>
          <p:sp>
            <p:nvSpPr>
              <p:cNvPr id="79" name="TextBox 78">
                <a:extLst>
                  <a:ext uri="{FF2B5EF4-FFF2-40B4-BE49-F238E27FC236}">
                    <a16:creationId xmlns:a16="http://schemas.microsoft.com/office/drawing/2014/main" id="{31BBE7A1-E3DF-2534-49A5-71561CD445DD}"/>
                  </a:ext>
                </a:extLst>
              </p:cNvPr>
              <p:cNvSpPr txBox="1">
                <a:spLocks/>
              </p:cNvSpPr>
              <p:nvPr/>
            </p:nvSpPr>
            <p:spPr>
              <a:xfrm>
                <a:off x="9810658" y="3328642"/>
                <a:ext cx="1552413" cy="215893"/>
              </a:xfrm>
              <a:prstGeom prst="rect">
                <a:avLst/>
              </a:prstGeom>
              <a:noFill/>
            </p:spPr>
            <p:txBody>
              <a:bodyPr wrap="none" lIns="0" tIns="0" rIns="0" bIns="0" rtlCol="0" anchor="ctr">
                <a:spAutoFit/>
              </a:bodyPr>
              <a:lstStyle/>
              <a:p>
                <a:pPr algn="ctr">
                  <a:lnSpc>
                    <a:spcPct val="110000"/>
                  </a:lnSpc>
                  <a:defRPr/>
                </a:pPr>
                <a:r>
                  <a:rPr lang="en-US" sz="1400">
                    <a:solidFill>
                      <a:schemeClr val="tx2"/>
                    </a:solidFill>
                    <a:latin typeface="+mj-lt"/>
                    <a:ea typeface="+mj-ea"/>
                    <a:cs typeface="+mj-cs"/>
                  </a:rPr>
                  <a:t>Workforce Insights</a:t>
                </a:r>
              </a:p>
            </p:txBody>
          </p:sp>
          <p:sp>
            <p:nvSpPr>
              <p:cNvPr id="117" name="TextBox 116">
                <a:extLst>
                  <a:ext uri="{FF2B5EF4-FFF2-40B4-BE49-F238E27FC236}">
                    <a16:creationId xmlns:a16="http://schemas.microsoft.com/office/drawing/2014/main" id="{DDA96116-9C7D-8216-071C-8D513CF7685A}"/>
                  </a:ext>
                </a:extLst>
              </p:cNvPr>
              <p:cNvSpPr txBox="1">
                <a:spLocks/>
              </p:cNvSpPr>
              <p:nvPr/>
            </p:nvSpPr>
            <p:spPr>
              <a:xfrm>
                <a:off x="9672465"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8">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pic>
            <p:nvPicPr>
              <p:cNvPr id="34" name="Picture 33">
                <a:extLst>
                  <a:ext uri="{FF2B5EF4-FFF2-40B4-BE49-F238E27FC236}">
                    <a16:creationId xmlns:a16="http://schemas.microsoft.com/office/drawing/2014/main" id="{4C8261D8-0D81-614C-C3B1-614380A73C5B}"/>
                  </a:ext>
                  <a:ext uri="{C183D7F6-B498-43B3-948B-1728B52AA6E4}">
                    <adec:decorative xmlns:adec="http://schemas.microsoft.com/office/drawing/2017/decorative" val="1"/>
                  </a:ext>
                </a:extLst>
              </p:cNvPr>
              <p:cNvPicPr>
                <a:picLocks noChangeAspect="1"/>
              </p:cNvPicPr>
              <p:nvPr/>
            </p:nvPicPr>
            <p:blipFill>
              <a:blip r:embed="rId21" cstate="hqprint">
                <a:extLst>
                  <a:ext uri="{28A0092B-C50C-407E-A947-70E740481C1C}">
                    <a14:useLocalDpi xmlns:a14="http://schemas.microsoft.com/office/drawing/2010/main"/>
                  </a:ext>
                </a:extLst>
              </a:blip>
              <a:srcRect/>
              <a:stretch/>
            </p:blipFill>
            <p:spPr>
              <a:xfrm>
                <a:off x="10422272" y="2973874"/>
                <a:ext cx="329184" cy="329184"/>
              </a:xfrm>
              <a:prstGeom prst="rect">
                <a:avLst/>
              </a:prstGeom>
            </p:spPr>
          </p:pic>
        </p:grpSp>
        <p:grpSp>
          <p:nvGrpSpPr>
            <p:cNvPr id="48" name="Group 47">
              <a:extLst>
                <a:ext uri="{FF2B5EF4-FFF2-40B4-BE49-F238E27FC236}">
                  <a16:creationId xmlns:a16="http://schemas.microsoft.com/office/drawing/2014/main" id="{36241219-96D9-6603-558B-554492E2722C}"/>
                </a:ext>
              </a:extLst>
            </p:cNvPr>
            <p:cNvGrpSpPr/>
            <p:nvPr/>
          </p:nvGrpSpPr>
          <p:grpSpPr>
            <a:xfrm>
              <a:off x="9672465" y="4448318"/>
              <a:ext cx="1828800" cy="1224964"/>
              <a:chOff x="9672465" y="4395153"/>
              <a:chExt cx="1828800" cy="1224964"/>
            </a:xfrm>
          </p:grpSpPr>
          <p:sp>
            <p:nvSpPr>
              <p:cNvPr id="104" name="TextBox 103">
                <a:extLst>
                  <a:ext uri="{FF2B5EF4-FFF2-40B4-BE49-F238E27FC236}">
                    <a16:creationId xmlns:a16="http://schemas.microsoft.com/office/drawing/2014/main" id="{C09BA8A0-86CE-0CA2-DFBA-D772C294D2C5}"/>
                  </a:ext>
                </a:extLst>
              </p:cNvPr>
              <p:cNvSpPr txBox="1"/>
              <p:nvPr/>
            </p:nvSpPr>
            <p:spPr>
              <a:xfrm>
                <a:off x="9672465"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chemeClr val="tx2"/>
                    </a:solidFill>
                    <a:effectLst/>
                    <a:uLnTx/>
                    <a:uFillTx/>
                  </a:rPr>
                  <a:t>Strumento</a:t>
                </a:r>
                <a:r>
                  <a:rPr kumimoji="0" lang="en-US" sz="1050" b="0" i="0" u="none" strike="noStrike" kern="1200" cap="none" spc="0" normalizeH="0" baseline="0" noProof="0" dirty="0">
                    <a:ln>
                      <a:noFill/>
                    </a:ln>
                    <a:solidFill>
                      <a:schemeClr val="tx2"/>
                    </a:solidFill>
                    <a:effectLst/>
                    <a:uLnTx/>
                    <a:uFillTx/>
                  </a:rPr>
                  <a:t> di </a:t>
                </a:r>
                <a:r>
                  <a:rPr kumimoji="0" lang="en-US" sz="1050" b="0" i="0" u="none" strike="noStrike" kern="1200" cap="none" spc="0" normalizeH="0" baseline="0" noProof="0" dirty="0" err="1">
                    <a:ln>
                      <a:noFill/>
                    </a:ln>
                    <a:solidFill>
                      <a:schemeClr val="tx2"/>
                    </a:solidFill>
                    <a:effectLst/>
                    <a:uLnTx/>
                    <a:uFillTx/>
                  </a:rPr>
                  <a:t>crescita</a:t>
                </a:r>
                <a:r>
                  <a:rPr kumimoji="0" lang="en-US" sz="1050" b="0" i="0" u="none" strike="noStrike" kern="1200" cap="none" spc="0" normalizeH="0" baseline="0" noProof="0" dirty="0">
                    <a:ln>
                      <a:noFill/>
                    </a:ln>
                    <a:solidFill>
                      <a:schemeClr val="tx2"/>
                    </a:solidFill>
                    <a:effectLst/>
                    <a:uLnTx/>
                    <a:uFillTx/>
                  </a:rPr>
                  <a:t> e </a:t>
                </a:r>
                <a:r>
                  <a:rPr kumimoji="0" lang="en-US" sz="1050" b="0" i="0" u="none" strike="noStrike" kern="1200" cap="none" spc="0" normalizeH="0" baseline="0" noProof="0" dirty="0" err="1">
                    <a:ln>
                      <a:noFill/>
                    </a:ln>
                    <a:solidFill>
                      <a:schemeClr val="tx2"/>
                    </a:solidFill>
                    <a:effectLst/>
                    <a:uLnTx/>
                    <a:uFillTx/>
                  </a:rPr>
                  <a:t>sviluppo</a:t>
                </a:r>
                <a:r>
                  <a:rPr kumimoji="0" lang="en-US" sz="1050" b="0" i="0" u="none" strike="noStrike" kern="1200" cap="none" spc="0" normalizeH="0" baseline="0" noProof="0" dirty="0">
                    <a:ln>
                      <a:noFill/>
                    </a:ln>
                    <a:solidFill>
                      <a:schemeClr val="tx2"/>
                    </a:solidFill>
                    <a:effectLst/>
                    <a:uLnTx/>
                    <a:uFillTx/>
                  </a:rPr>
                  <a:t> delle skill</a:t>
                </a:r>
              </a:p>
            </p:txBody>
          </p:sp>
          <p:sp>
            <p:nvSpPr>
              <p:cNvPr id="105" name="TextBox 104">
                <a:extLst>
                  <a:ext uri="{FF2B5EF4-FFF2-40B4-BE49-F238E27FC236}">
                    <a16:creationId xmlns:a16="http://schemas.microsoft.com/office/drawing/2014/main" id="{FCC3D3D0-8ED3-14B5-7F4E-9A09738EBA86}"/>
                  </a:ext>
                </a:extLst>
              </p:cNvPr>
              <p:cNvSpPr txBox="1">
                <a:spLocks/>
              </p:cNvSpPr>
              <p:nvPr/>
            </p:nvSpPr>
            <p:spPr>
              <a:xfrm>
                <a:off x="10235807" y="4779651"/>
                <a:ext cx="702115" cy="221023"/>
              </a:xfrm>
              <a:prstGeom prst="rect">
                <a:avLst/>
              </a:prstGeom>
              <a:noFill/>
            </p:spPr>
            <p:txBody>
              <a:bodyPr wrap="none" lIns="0" tIns="0" rIns="0" bIns="0" rtlCol="0" anchor="ctr">
                <a:spAutoFit/>
              </a:bodyPr>
              <a:lstStyle/>
              <a:p>
                <a:pPr algn="ctr">
                  <a:lnSpc>
                    <a:spcPct val="110000"/>
                  </a:lnSpc>
                  <a:defRPr/>
                </a:pPr>
                <a:r>
                  <a:rPr lang="en-US" sz="1400">
                    <a:solidFill>
                      <a:schemeClr val="tx2"/>
                    </a:solidFill>
                    <a:latin typeface="+mj-lt"/>
                    <a:ea typeface="+mj-ea"/>
                    <a:cs typeface="+mj-cs"/>
                  </a:rPr>
                  <a:t>Learning</a:t>
                </a:r>
              </a:p>
            </p:txBody>
          </p:sp>
          <p:sp>
            <p:nvSpPr>
              <p:cNvPr id="118" name="TextBox 117">
                <a:extLst>
                  <a:ext uri="{FF2B5EF4-FFF2-40B4-BE49-F238E27FC236}">
                    <a16:creationId xmlns:a16="http://schemas.microsoft.com/office/drawing/2014/main" id="{22FFE141-6AF3-254B-5402-FFABCE9F6E68}"/>
                  </a:ext>
                </a:extLst>
              </p:cNvPr>
              <p:cNvSpPr txBox="1">
                <a:spLocks/>
              </p:cNvSpPr>
              <p:nvPr/>
            </p:nvSpPr>
            <p:spPr>
              <a:xfrm>
                <a:off x="9672465" y="545084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8">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pic>
            <p:nvPicPr>
              <p:cNvPr id="39" name="Picture 38">
                <a:extLst>
                  <a:ext uri="{FF2B5EF4-FFF2-40B4-BE49-F238E27FC236}">
                    <a16:creationId xmlns:a16="http://schemas.microsoft.com/office/drawing/2014/main" id="{D39EB72A-8805-A869-B18E-A76F47125F85}"/>
                  </a:ext>
                  <a:ext uri="{C183D7F6-B498-43B3-948B-1728B52AA6E4}">
                    <adec:decorative xmlns:adec="http://schemas.microsoft.com/office/drawing/2017/decorative" val="1"/>
                  </a:ext>
                </a:extLst>
              </p:cNvPr>
              <p:cNvPicPr>
                <a:picLocks noChangeAspect="1"/>
              </p:cNvPicPr>
              <p:nvPr/>
            </p:nvPicPr>
            <p:blipFill>
              <a:blip r:embed="rId22" cstate="hqprint">
                <a:extLst>
                  <a:ext uri="{28A0092B-C50C-407E-A947-70E740481C1C}">
                    <a14:useLocalDpi xmlns:a14="http://schemas.microsoft.com/office/drawing/2010/main"/>
                  </a:ext>
                </a:extLst>
              </a:blip>
              <a:srcRect/>
              <a:stretch/>
            </p:blipFill>
            <p:spPr>
              <a:xfrm>
                <a:off x="10422272" y="4395153"/>
                <a:ext cx="329184" cy="329184"/>
              </a:xfrm>
              <a:prstGeom prst="rect">
                <a:avLst/>
              </a:prstGeom>
            </p:spPr>
          </p:pic>
        </p:grpSp>
        <p:sp>
          <p:nvSpPr>
            <p:cNvPr id="12" name="Rectangle: Rounded Corners 34">
              <a:extLst>
                <a:ext uri="{FF2B5EF4-FFF2-40B4-BE49-F238E27FC236}">
                  <a16:creationId xmlns:a16="http://schemas.microsoft.com/office/drawing/2014/main" id="{0AC30A62-76B9-87C6-CBF4-C37EEDBE29A5}"/>
                </a:ext>
                <a:ext uri="{C183D7F6-B498-43B3-948B-1728B52AA6E4}">
                  <adec:decorative xmlns:adec="http://schemas.microsoft.com/office/drawing/2017/decorative" val="1"/>
                </a:ext>
              </a:extLst>
            </p:cNvPr>
            <p:cNvSpPr>
              <a:spLocks/>
            </p:cNvSpPr>
            <p:nvPr/>
          </p:nvSpPr>
          <p:spPr bwMode="auto">
            <a:xfrm>
              <a:off x="571500" y="1464473"/>
              <a:ext cx="11043920" cy="4684691"/>
            </a:xfrm>
            <a:prstGeom prst="roundRect">
              <a:avLst>
                <a:gd name="adj" fmla="val 5270"/>
              </a:avLst>
            </a:prstGeom>
            <a:noFill/>
            <a:ln w="12700">
              <a:gradFill flip="none" rotWithShape="1">
                <a:gsLst>
                  <a:gs pos="0">
                    <a:schemeClr val="accent1"/>
                  </a:gs>
                  <a:gs pos="100000">
                    <a:schemeClr val="accent2"/>
                  </a:gs>
                </a:gsLst>
                <a:path path="circle">
                  <a:fillToRect t="100000" r="100000"/>
                </a:path>
                <a:tileRect l="-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solidFill>
                  <a:srgbClr val="FFFFFF"/>
                </a:solidFill>
                <a:latin typeface="Segoe UI Variable Display Semibold" pitchFamily="2" charset="0"/>
                <a:cs typeface="Segoe UI" pitchFamily="34" charset="0"/>
              </a:endParaRPr>
            </a:p>
          </p:txBody>
        </p:sp>
      </p:grpSp>
      <p:sp>
        <p:nvSpPr>
          <p:cNvPr id="54" name="TextBox 53">
            <a:extLst>
              <a:ext uri="{FF2B5EF4-FFF2-40B4-BE49-F238E27FC236}">
                <a16:creationId xmlns:a16="http://schemas.microsoft.com/office/drawing/2014/main" id="{E742E0A9-F276-ACE1-AF52-0932E6B5F368}"/>
              </a:ext>
            </a:extLst>
          </p:cNvPr>
          <p:cNvSpPr txBox="1"/>
          <p:nvPr/>
        </p:nvSpPr>
        <p:spPr>
          <a:xfrm>
            <a:off x="1052623" y="5853800"/>
            <a:ext cx="10090298" cy="600165"/>
          </a:xfrm>
          <a:prstGeom prst="roundRect">
            <a:avLst>
              <a:gd name="adj" fmla="val 50000"/>
            </a:avLst>
          </a:prstGeom>
          <a:gradFill flip="none" rotWithShape="1">
            <a:gsLst>
              <a:gs pos="100000">
                <a:schemeClr val="accent2"/>
              </a:gs>
              <a:gs pos="20000">
                <a:schemeClr val="accent1"/>
              </a:gs>
            </a:gsLst>
            <a:lin ang="0" scaled="1"/>
            <a:tileRect/>
          </a:gradFill>
          <a:ln w="9525">
            <a:solidFill>
              <a:schemeClr val="bg1"/>
            </a:solid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a:lnSpc>
                <a:spcPct val="100000"/>
              </a:lnSpc>
              <a:spcBef>
                <a:spcPct val="0"/>
              </a:spcBef>
              <a:buNone/>
              <a:defRPr sz="2400" b="0" cap="none" spc="-50" baseline="0">
                <a:ln w="3175">
                  <a:noFill/>
                </a:ln>
                <a:solidFill>
                  <a:schemeClr val="bg1"/>
                </a:solidFill>
                <a:effectLst/>
                <a:latin typeface="+mj-lt"/>
                <a:cs typeface="Segoe UI" pitchFamily="34" charset="0"/>
              </a:defRPr>
            </a:lvl1pPr>
          </a:lstStyle>
          <a:p>
            <a:pPr lvl="0" defTabSz="914400">
              <a:spcBef>
                <a:spcPts val="0"/>
              </a:spcBef>
              <a:defRPr/>
            </a:pPr>
            <a:r>
              <a:rPr lang="it-IT" sz="1200" spc="0" dirty="0">
                <a:ln>
                  <a:noFill/>
                </a:ln>
                <a:ea typeface="+mj-ea"/>
                <a:cs typeface="+mj-cs"/>
              </a:rPr>
              <a:t>Questo è un esempio di agenti creati da Microsoft disponibili nell’Agent Store e in applicazioni specifiche. Gli agenti a tua disposizione varieranno in base alla tua licenza e a quali agenti il tuo amministratore ha abilitato per te.</a:t>
            </a:r>
          </a:p>
        </p:txBody>
      </p:sp>
    </p:spTree>
    <p:extLst>
      <p:ext uri="{BB962C8B-B14F-4D97-AF65-F5344CB8AC3E}">
        <p14:creationId xmlns:p14="http://schemas.microsoft.com/office/powerpoint/2010/main" val="305098058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4CFE1-4A0D-3374-AA9F-E282ADBF49E3}"/>
              </a:ext>
            </a:extLst>
          </p:cNvPr>
          <p:cNvSpPr>
            <a:spLocks noGrp="1"/>
          </p:cNvSpPr>
          <p:nvPr>
            <p:ph type="title"/>
          </p:nvPr>
        </p:nvSpPr>
        <p:spPr>
          <a:xfrm>
            <a:off x="586740" y="524575"/>
            <a:ext cx="11018520" cy="430887"/>
          </a:xfrm>
        </p:spPr>
        <p:txBody>
          <a:bodyPr/>
          <a:lstStyle/>
          <a:p>
            <a:r>
              <a:rPr lang="en-GB" sz="2800" dirty="0" err="1"/>
              <a:t>Agenti</a:t>
            </a:r>
            <a:r>
              <a:rPr lang="en-GB" sz="2800" dirty="0"/>
              <a:t> </a:t>
            </a:r>
            <a:r>
              <a:rPr lang="en-GB" sz="2800" dirty="0" err="1"/>
              <a:t>dei</a:t>
            </a:r>
            <a:r>
              <a:rPr lang="en-GB" sz="2800" dirty="0"/>
              <a:t> </a:t>
            </a:r>
            <a:r>
              <a:rPr lang="en-GB" sz="2800" dirty="0" err="1"/>
              <a:t>nostri</a:t>
            </a:r>
            <a:r>
              <a:rPr lang="en-GB" sz="2800" dirty="0"/>
              <a:t> Partner</a:t>
            </a:r>
            <a:endParaRPr lang="en-US" sz="2800" dirty="0"/>
          </a:p>
        </p:txBody>
      </p:sp>
      <p:sp>
        <p:nvSpPr>
          <p:cNvPr id="4" name="!!!!!">
            <a:extLst>
              <a:ext uri="{FF2B5EF4-FFF2-40B4-BE49-F238E27FC236}">
                <a16:creationId xmlns:a16="http://schemas.microsoft.com/office/drawing/2014/main" id="{E35481B4-15ED-A0BD-7C0E-EFD206837CC9}"/>
              </a:ext>
              <a:ext uri="{C183D7F6-B498-43B3-948B-1728B52AA6E4}">
                <adec:decorative xmlns:adec="http://schemas.microsoft.com/office/drawing/2017/decorative" val="1"/>
              </a:ext>
            </a:extLst>
          </p:cNvPr>
          <p:cNvSpPr>
            <a:spLocks/>
          </p:cNvSpPr>
          <p:nvPr/>
        </p:nvSpPr>
        <p:spPr bwMode="auto">
          <a:xfrm>
            <a:off x="583923" y="1578932"/>
            <a:ext cx="11018505" cy="4850003"/>
          </a:xfrm>
          <a:prstGeom prst="roundRect">
            <a:avLst>
              <a:gd name="adj" fmla="val 1528"/>
            </a:avLst>
          </a:prstGeom>
          <a:solidFill>
            <a:schemeClr val="bg1">
              <a:lumMod val="95000"/>
            </a:schemeClr>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761701"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err="1">
              <a:ln>
                <a:noFill/>
              </a:ln>
              <a:solidFill>
                <a:srgbClr val="FFFFFF"/>
              </a:solidFill>
              <a:effectLst/>
              <a:uLnTx/>
              <a:uFillTx/>
              <a:latin typeface="Segoe UI"/>
              <a:ea typeface="+mn-ea"/>
              <a:cs typeface="+mn-cs"/>
            </a:endParaRPr>
          </a:p>
        </p:txBody>
      </p:sp>
      <p:sp>
        <p:nvSpPr>
          <p:cNvPr id="5" name="Rectangle: Rounded Corners 4">
            <a:extLst>
              <a:ext uri="{FF2B5EF4-FFF2-40B4-BE49-F238E27FC236}">
                <a16:creationId xmlns:a16="http://schemas.microsoft.com/office/drawing/2014/main" id="{6BEDFE4A-DFE6-C126-A673-8411C644F58E}"/>
              </a:ext>
              <a:ext uri="{C183D7F6-B498-43B3-948B-1728B52AA6E4}">
                <adec:decorative xmlns:adec="http://schemas.microsoft.com/office/drawing/2017/decorative" val="1"/>
              </a:ext>
            </a:extLst>
          </p:cNvPr>
          <p:cNvSpPr>
            <a:spLocks/>
          </p:cNvSpPr>
          <p:nvPr/>
        </p:nvSpPr>
        <p:spPr bwMode="auto">
          <a:xfrm>
            <a:off x="632467" y="1613540"/>
            <a:ext cx="2391701" cy="4017044"/>
          </a:xfrm>
          <a:prstGeom prst="roundRect">
            <a:avLst>
              <a:gd name="adj" fmla="val 2653"/>
            </a:avLst>
          </a:prstGeom>
          <a:solidFill>
            <a:srgbClr val="F7F7F7"/>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761701"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err="1">
              <a:ln>
                <a:noFill/>
              </a:ln>
              <a:solidFill>
                <a:srgbClr val="FFFFFF"/>
              </a:solidFill>
              <a:effectLst/>
              <a:uLnTx/>
              <a:uFillTx/>
              <a:latin typeface="Segoe UI"/>
              <a:ea typeface="+mn-ea"/>
              <a:cs typeface="+mn-cs"/>
            </a:endParaRPr>
          </a:p>
        </p:txBody>
      </p:sp>
      <p:sp>
        <p:nvSpPr>
          <p:cNvPr id="6" name="Rectangle: Rounded Corners 5">
            <a:extLst>
              <a:ext uri="{FF2B5EF4-FFF2-40B4-BE49-F238E27FC236}">
                <a16:creationId xmlns:a16="http://schemas.microsoft.com/office/drawing/2014/main" id="{321CF451-0356-E083-F910-9DB704064293}"/>
              </a:ext>
              <a:ext uri="{C183D7F6-B498-43B3-948B-1728B52AA6E4}">
                <adec:decorative xmlns:adec="http://schemas.microsoft.com/office/drawing/2017/decorative" val="1"/>
              </a:ext>
            </a:extLst>
          </p:cNvPr>
          <p:cNvSpPr>
            <a:spLocks/>
          </p:cNvSpPr>
          <p:nvPr/>
        </p:nvSpPr>
        <p:spPr bwMode="auto">
          <a:xfrm>
            <a:off x="669835" y="3936392"/>
            <a:ext cx="1130907"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 name="Rectangle: Rounded Corners 6">
            <a:extLst>
              <a:ext uri="{FF2B5EF4-FFF2-40B4-BE49-F238E27FC236}">
                <a16:creationId xmlns:a16="http://schemas.microsoft.com/office/drawing/2014/main" id="{F085D2D0-1BFB-5109-82BA-CB68D523AF40}"/>
              </a:ext>
              <a:ext uri="{C183D7F6-B498-43B3-948B-1728B52AA6E4}">
                <adec:decorative xmlns:adec="http://schemas.microsoft.com/office/drawing/2017/decorative" val="1"/>
              </a:ext>
            </a:extLst>
          </p:cNvPr>
          <p:cNvSpPr>
            <a:spLocks/>
          </p:cNvSpPr>
          <p:nvPr/>
        </p:nvSpPr>
        <p:spPr bwMode="auto">
          <a:xfrm>
            <a:off x="669835" y="4653603"/>
            <a:ext cx="1130907"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91F2C"/>
              </a:solidFill>
              <a:effectLst/>
              <a:uLnTx/>
              <a:uFillTx/>
              <a:latin typeface="Segoe UI"/>
              <a:ea typeface="+mn-ea"/>
              <a:cs typeface="Segoe UI" pitchFamily="34" charset="0"/>
            </a:endParaRPr>
          </a:p>
        </p:txBody>
      </p:sp>
      <p:pic>
        <p:nvPicPr>
          <p:cNvPr id="8" name="Picture 7" descr="Man gesturing in front of laptop">
            <a:extLst>
              <a:ext uri="{FF2B5EF4-FFF2-40B4-BE49-F238E27FC236}">
                <a16:creationId xmlns:a16="http://schemas.microsoft.com/office/drawing/2014/main" id="{DAE68085-7E57-7629-83B1-03056B2619AB}"/>
              </a:ext>
            </a:extLst>
          </p:cNvPr>
          <p:cNvPicPr>
            <a:picLocks/>
          </p:cNvPicPr>
          <p:nvPr/>
        </p:nvPicPr>
        <p:blipFill rotWithShape="1">
          <a:blip r:embed="rId3">
            <a:extLst>
              <a:ext uri="{28A0092B-C50C-407E-A947-70E740481C1C}">
                <a14:useLocalDpi xmlns:a14="http://schemas.microsoft.com/office/drawing/2010/main" val="0"/>
              </a:ext>
            </a:extLst>
          </a:blip>
          <a:srcRect t="7898" b="18418"/>
          <a:stretch/>
        </p:blipFill>
        <p:spPr>
          <a:xfrm>
            <a:off x="678187" y="1659259"/>
            <a:ext cx="2299016" cy="1048649"/>
          </a:xfrm>
          <a:prstGeom prst="roundRect">
            <a:avLst>
              <a:gd name="adj" fmla="val 4423"/>
            </a:avLst>
          </a:prstGeom>
        </p:spPr>
      </p:pic>
      <p:sp>
        <p:nvSpPr>
          <p:cNvPr id="9" name="Rectangle: Rounded Corners 8">
            <a:extLst>
              <a:ext uri="{FF2B5EF4-FFF2-40B4-BE49-F238E27FC236}">
                <a16:creationId xmlns:a16="http://schemas.microsoft.com/office/drawing/2014/main" id="{BD2CCD1C-D02C-DE7D-C729-9331AFD7D2DE}"/>
              </a:ext>
              <a:ext uri="{C183D7F6-B498-43B3-948B-1728B52AA6E4}">
                <adec:decorative xmlns:adec="http://schemas.microsoft.com/office/drawing/2017/decorative" val="1"/>
              </a:ext>
            </a:extLst>
          </p:cNvPr>
          <p:cNvSpPr>
            <a:spLocks/>
          </p:cNvSpPr>
          <p:nvPr/>
        </p:nvSpPr>
        <p:spPr bwMode="auto">
          <a:xfrm>
            <a:off x="674011" y="3219182"/>
            <a:ext cx="1122555"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 name="Rectangle: Rounded Corners 9">
            <a:extLst>
              <a:ext uri="{FF2B5EF4-FFF2-40B4-BE49-F238E27FC236}">
                <a16:creationId xmlns:a16="http://schemas.microsoft.com/office/drawing/2014/main" id="{40D4CE3A-1F10-71F0-8B85-CB9F019A5433}"/>
              </a:ext>
              <a:ext uri="{C183D7F6-B498-43B3-948B-1728B52AA6E4}">
                <adec:decorative xmlns:adec="http://schemas.microsoft.com/office/drawing/2017/decorative" val="1"/>
              </a:ext>
            </a:extLst>
          </p:cNvPr>
          <p:cNvSpPr>
            <a:spLocks/>
          </p:cNvSpPr>
          <p:nvPr/>
        </p:nvSpPr>
        <p:spPr bwMode="auto">
          <a:xfrm>
            <a:off x="1846295" y="3219182"/>
            <a:ext cx="1130907"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1" name="Rectangle: Rounded Corners 10">
            <a:extLst>
              <a:ext uri="{FF2B5EF4-FFF2-40B4-BE49-F238E27FC236}">
                <a16:creationId xmlns:a16="http://schemas.microsoft.com/office/drawing/2014/main" id="{CCC71821-CAAE-7C9C-FD8B-E8A2995F0A9D}"/>
              </a:ext>
              <a:ext uri="{C183D7F6-B498-43B3-948B-1728B52AA6E4}">
                <adec:decorative xmlns:adec="http://schemas.microsoft.com/office/drawing/2017/decorative" val="1"/>
              </a:ext>
            </a:extLst>
          </p:cNvPr>
          <p:cNvSpPr>
            <a:spLocks/>
          </p:cNvSpPr>
          <p:nvPr/>
        </p:nvSpPr>
        <p:spPr bwMode="auto">
          <a:xfrm>
            <a:off x="1846295" y="3936392"/>
            <a:ext cx="1130907"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12" name="Rectangle: Rounded Corners 11">
            <a:extLst>
              <a:ext uri="{FF2B5EF4-FFF2-40B4-BE49-F238E27FC236}">
                <a16:creationId xmlns:a16="http://schemas.microsoft.com/office/drawing/2014/main" id="{255CA33B-9E7B-E0E4-9D61-600F880A5CA3}"/>
              </a:ext>
              <a:ext uri="{C183D7F6-B498-43B3-948B-1728B52AA6E4}">
                <adec:decorative xmlns:adec="http://schemas.microsoft.com/office/drawing/2017/decorative" val="1"/>
              </a:ext>
            </a:extLst>
          </p:cNvPr>
          <p:cNvSpPr>
            <a:spLocks/>
          </p:cNvSpPr>
          <p:nvPr/>
        </p:nvSpPr>
        <p:spPr bwMode="auto">
          <a:xfrm>
            <a:off x="1846295" y="4653603"/>
            <a:ext cx="1130907"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Rounded Rectangle 40_1">
            <a:extLst>
              <a:ext uri="{FF2B5EF4-FFF2-40B4-BE49-F238E27FC236}">
                <a16:creationId xmlns:a16="http://schemas.microsoft.com/office/drawing/2014/main" id="{C394AD50-7AF8-F147-5EC7-84ECFD33AB6C}"/>
              </a:ext>
              <a:ext uri="{C183D7F6-B498-43B3-948B-1728B52AA6E4}">
                <adec:decorative xmlns:adec="http://schemas.microsoft.com/office/drawing/2017/decorative" val="1"/>
              </a:ext>
            </a:extLst>
          </p:cNvPr>
          <p:cNvSpPr>
            <a:spLocks/>
          </p:cNvSpPr>
          <p:nvPr/>
        </p:nvSpPr>
        <p:spPr bwMode="auto">
          <a:xfrm>
            <a:off x="3069889" y="1613540"/>
            <a:ext cx="1173242" cy="4017044"/>
          </a:xfrm>
          <a:prstGeom prst="roundRect">
            <a:avLst>
              <a:gd name="adj" fmla="val 5019"/>
            </a:avLst>
          </a:prstGeom>
          <a:solidFill>
            <a:srgbClr val="F7F7F7"/>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761701"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err="1">
              <a:ln>
                <a:noFill/>
              </a:ln>
              <a:solidFill>
                <a:srgbClr val="FFFFFF"/>
              </a:solidFill>
              <a:effectLst/>
              <a:uLnTx/>
              <a:uFillTx/>
              <a:latin typeface="Segoe UI"/>
              <a:ea typeface="+mn-ea"/>
              <a:cs typeface="+mn-cs"/>
            </a:endParaRPr>
          </a:p>
        </p:txBody>
      </p:sp>
      <p:sp>
        <p:nvSpPr>
          <p:cNvPr id="14" name="!!Rounded Rectangle 39_1">
            <a:extLst>
              <a:ext uri="{FF2B5EF4-FFF2-40B4-BE49-F238E27FC236}">
                <a16:creationId xmlns:a16="http://schemas.microsoft.com/office/drawing/2014/main" id="{6BB0C93D-F9C7-BFEC-9338-22C48252F696}"/>
              </a:ext>
              <a:ext uri="{C183D7F6-B498-43B3-948B-1728B52AA6E4}">
                <adec:decorative xmlns:adec="http://schemas.microsoft.com/office/drawing/2017/decorative" val="1"/>
              </a:ext>
            </a:extLst>
          </p:cNvPr>
          <p:cNvSpPr>
            <a:spLocks/>
          </p:cNvSpPr>
          <p:nvPr/>
        </p:nvSpPr>
        <p:spPr bwMode="auto">
          <a:xfrm>
            <a:off x="4288819" y="1613540"/>
            <a:ext cx="1173242" cy="4017044"/>
          </a:xfrm>
          <a:prstGeom prst="roundRect">
            <a:avLst>
              <a:gd name="adj" fmla="val 2180"/>
            </a:avLst>
          </a:prstGeom>
          <a:solidFill>
            <a:srgbClr val="F7F7F7"/>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761701"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err="1">
              <a:ln>
                <a:noFill/>
              </a:ln>
              <a:solidFill>
                <a:srgbClr val="FFFFFF"/>
              </a:solidFill>
              <a:effectLst/>
              <a:uLnTx/>
              <a:uFillTx/>
              <a:latin typeface="Segoe UI"/>
              <a:ea typeface="+mn-ea"/>
              <a:cs typeface="+mn-cs"/>
            </a:endParaRPr>
          </a:p>
        </p:txBody>
      </p:sp>
      <p:sp>
        <p:nvSpPr>
          <p:cNvPr id="15" name="!!Yess!!_1">
            <a:extLst>
              <a:ext uri="{FF2B5EF4-FFF2-40B4-BE49-F238E27FC236}">
                <a16:creationId xmlns:a16="http://schemas.microsoft.com/office/drawing/2014/main" id="{12DA474C-5B63-7441-AE6E-BFA135C452AB}"/>
              </a:ext>
              <a:ext uri="{C183D7F6-B498-43B3-948B-1728B52AA6E4}">
                <adec:decorative xmlns:adec="http://schemas.microsoft.com/office/drawing/2017/decorative" val="1"/>
              </a:ext>
            </a:extLst>
          </p:cNvPr>
          <p:cNvSpPr>
            <a:spLocks/>
          </p:cNvSpPr>
          <p:nvPr/>
        </p:nvSpPr>
        <p:spPr bwMode="auto">
          <a:xfrm>
            <a:off x="5507748" y="1613540"/>
            <a:ext cx="1173242" cy="4017044"/>
          </a:xfrm>
          <a:prstGeom prst="roundRect">
            <a:avLst>
              <a:gd name="adj" fmla="val 2180"/>
            </a:avLst>
          </a:prstGeom>
          <a:solidFill>
            <a:srgbClr val="F7F7F7"/>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761701"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err="1">
              <a:ln>
                <a:noFill/>
              </a:ln>
              <a:solidFill>
                <a:srgbClr val="FFFFFF"/>
              </a:solidFill>
              <a:effectLst/>
              <a:uLnTx/>
              <a:uFillTx/>
              <a:latin typeface="Segoe UI"/>
              <a:ea typeface="+mn-ea"/>
              <a:cs typeface="+mn-cs"/>
            </a:endParaRPr>
          </a:p>
        </p:txBody>
      </p:sp>
      <p:sp>
        <p:nvSpPr>
          <p:cNvPr id="16" name="Rectangle: Rounded Corners 15">
            <a:extLst>
              <a:ext uri="{FF2B5EF4-FFF2-40B4-BE49-F238E27FC236}">
                <a16:creationId xmlns:a16="http://schemas.microsoft.com/office/drawing/2014/main" id="{F4E0E734-2071-0600-D659-E185A967A33E}"/>
              </a:ext>
              <a:ext uri="{C183D7F6-B498-43B3-948B-1728B52AA6E4}">
                <adec:decorative xmlns:adec="http://schemas.microsoft.com/office/drawing/2017/decorative" val="1"/>
              </a:ext>
            </a:extLst>
          </p:cNvPr>
          <p:cNvSpPr>
            <a:spLocks/>
          </p:cNvSpPr>
          <p:nvPr/>
        </p:nvSpPr>
        <p:spPr bwMode="auto">
          <a:xfrm>
            <a:off x="3115242" y="3219182"/>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7" name="Rectangle: Rounded Corners 16">
            <a:extLst>
              <a:ext uri="{FF2B5EF4-FFF2-40B4-BE49-F238E27FC236}">
                <a16:creationId xmlns:a16="http://schemas.microsoft.com/office/drawing/2014/main" id="{0E1F7C97-A1E8-0C0F-D69B-02C1DCA652B1}"/>
              </a:ext>
              <a:ext uri="{C183D7F6-B498-43B3-948B-1728B52AA6E4}">
                <adec:decorative xmlns:adec="http://schemas.microsoft.com/office/drawing/2017/decorative" val="1"/>
              </a:ext>
            </a:extLst>
          </p:cNvPr>
          <p:cNvSpPr>
            <a:spLocks/>
          </p:cNvSpPr>
          <p:nvPr/>
        </p:nvSpPr>
        <p:spPr bwMode="auto">
          <a:xfrm>
            <a:off x="4334171" y="3219182"/>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8" name="Rectangle: Rounded Corners 17">
            <a:extLst>
              <a:ext uri="{FF2B5EF4-FFF2-40B4-BE49-F238E27FC236}">
                <a16:creationId xmlns:a16="http://schemas.microsoft.com/office/drawing/2014/main" id="{012F1B6C-0475-FC71-AA21-AB526C6B8770}"/>
              </a:ext>
              <a:ext uri="{C183D7F6-B498-43B3-948B-1728B52AA6E4}">
                <adec:decorative xmlns:adec="http://schemas.microsoft.com/office/drawing/2017/decorative" val="1"/>
              </a:ext>
            </a:extLst>
          </p:cNvPr>
          <p:cNvSpPr>
            <a:spLocks/>
          </p:cNvSpPr>
          <p:nvPr/>
        </p:nvSpPr>
        <p:spPr bwMode="auto">
          <a:xfrm>
            <a:off x="5553101" y="3219182"/>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9" name="!!Rounded Rectangle 37_1">
            <a:extLst>
              <a:ext uri="{FF2B5EF4-FFF2-40B4-BE49-F238E27FC236}">
                <a16:creationId xmlns:a16="http://schemas.microsoft.com/office/drawing/2014/main" id="{8BCC043C-C9C4-CCC1-6D62-27F520E9EE16}"/>
              </a:ext>
              <a:ext uri="{C183D7F6-B498-43B3-948B-1728B52AA6E4}">
                <adec:decorative xmlns:adec="http://schemas.microsoft.com/office/drawing/2017/decorative" val="1"/>
              </a:ext>
            </a:extLst>
          </p:cNvPr>
          <p:cNvSpPr>
            <a:spLocks/>
          </p:cNvSpPr>
          <p:nvPr/>
        </p:nvSpPr>
        <p:spPr bwMode="auto">
          <a:xfrm>
            <a:off x="6726678" y="1613540"/>
            <a:ext cx="1173242" cy="4017044"/>
          </a:xfrm>
          <a:prstGeom prst="roundRect">
            <a:avLst>
              <a:gd name="adj" fmla="val 2180"/>
            </a:avLst>
          </a:prstGeom>
          <a:solidFill>
            <a:srgbClr val="F7F7F7"/>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761701"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a:ln>
                <a:noFill/>
              </a:ln>
              <a:solidFill>
                <a:srgbClr val="FFFFFF"/>
              </a:solidFill>
              <a:effectLst/>
              <a:uLnTx/>
              <a:uFillTx/>
              <a:latin typeface="Segoe UI"/>
              <a:ea typeface="+mn-ea"/>
              <a:cs typeface="+mn-cs"/>
            </a:endParaRPr>
          </a:p>
        </p:txBody>
      </p:sp>
      <p:sp>
        <p:nvSpPr>
          <p:cNvPr id="20" name="!!Rounded Rectangle 34_1">
            <a:extLst>
              <a:ext uri="{FF2B5EF4-FFF2-40B4-BE49-F238E27FC236}">
                <a16:creationId xmlns:a16="http://schemas.microsoft.com/office/drawing/2014/main" id="{3FBADC11-0E61-AD1C-7EDA-CA7AF5810768}"/>
              </a:ext>
              <a:ext uri="{C183D7F6-B498-43B3-948B-1728B52AA6E4}">
                <adec:decorative xmlns:adec="http://schemas.microsoft.com/office/drawing/2017/decorative" val="1"/>
              </a:ext>
            </a:extLst>
          </p:cNvPr>
          <p:cNvSpPr>
            <a:spLocks/>
          </p:cNvSpPr>
          <p:nvPr/>
        </p:nvSpPr>
        <p:spPr bwMode="auto">
          <a:xfrm>
            <a:off x="7945608" y="1613540"/>
            <a:ext cx="1173242" cy="4017044"/>
          </a:xfrm>
          <a:prstGeom prst="roundRect">
            <a:avLst>
              <a:gd name="adj" fmla="val 2180"/>
            </a:avLst>
          </a:prstGeom>
          <a:solidFill>
            <a:srgbClr val="F7F7F7"/>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761701"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err="1">
              <a:ln>
                <a:noFill/>
              </a:ln>
              <a:solidFill>
                <a:srgbClr val="FFFFFF"/>
              </a:solidFill>
              <a:effectLst/>
              <a:uLnTx/>
              <a:uFillTx/>
              <a:latin typeface="Segoe UI"/>
              <a:ea typeface="+mn-ea"/>
              <a:cs typeface="+mn-cs"/>
            </a:endParaRPr>
          </a:p>
        </p:txBody>
      </p:sp>
      <p:sp>
        <p:nvSpPr>
          <p:cNvPr id="21" name="!!Rectangle: Rounded Corners 1027">
            <a:extLst>
              <a:ext uri="{FF2B5EF4-FFF2-40B4-BE49-F238E27FC236}">
                <a16:creationId xmlns:a16="http://schemas.microsoft.com/office/drawing/2014/main" id="{378DE395-E741-B346-935E-1E2823A4E79C}"/>
              </a:ext>
              <a:ext uri="{C183D7F6-B498-43B3-948B-1728B52AA6E4}">
                <adec:decorative xmlns:adec="http://schemas.microsoft.com/office/drawing/2017/decorative" val="1"/>
              </a:ext>
            </a:extLst>
          </p:cNvPr>
          <p:cNvSpPr>
            <a:spLocks/>
          </p:cNvSpPr>
          <p:nvPr/>
        </p:nvSpPr>
        <p:spPr bwMode="auto">
          <a:xfrm>
            <a:off x="9164537" y="1613540"/>
            <a:ext cx="1173242" cy="4017044"/>
          </a:xfrm>
          <a:prstGeom prst="roundRect">
            <a:avLst>
              <a:gd name="adj" fmla="val 2180"/>
            </a:avLst>
          </a:prstGeom>
          <a:solidFill>
            <a:srgbClr val="F7F7F7"/>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761701"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err="1">
              <a:ln>
                <a:noFill/>
              </a:ln>
              <a:solidFill>
                <a:srgbClr val="FFFFFF"/>
              </a:solidFill>
              <a:effectLst/>
              <a:uLnTx/>
              <a:uFillTx/>
              <a:latin typeface="Segoe UI"/>
              <a:ea typeface="+mn-ea"/>
              <a:cs typeface="+mn-cs"/>
            </a:endParaRPr>
          </a:p>
        </p:txBody>
      </p:sp>
      <p:sp>
        <p:nvSpPr>
          <p:cNvPr id="22" name="!!Rounded Rectangle 33_1">
            <a:extLst>
              <a:ext uri="{FF2B5EF4-FFF2-40B4-BE49-F238E27FC236}">
                <a16:creationId xmlns:a16="http://schemas.microsoft.com/office/drawing/2014/main" id="{7AF4AA0F-F384-1F0E-B693-991885AAC544}"/>
              </a:ext>
              <a:ext uri="{C183D7F6-B498-43B3-948B-1728B52AA6E4}">
                <adec:decorative xmlns:adec="http://schemas.microsoft.com/office/drawing/2017/decorative" val="1"/>
              </a:ext>
            </a:extLst>
          </p:cNvPr>
          <p:cNvSpPr>
            <a:spLocks/>
          </p:cNvSpPr>
          <p:nvPr/>
        </p:nvSpPr>
        <p:spPr bwMode="auto">
          <a:xfrm>
            <a:off x="10383467" y="1613540"/>
            <a:ext cx="1173242" cy="4017044"/>
          </a:xfrm>
          <a:prstGeom prst="roundRect">
            <a:avLst>
              <a:gd name="adj" fmla="val 2180"/>
            </a:avLst>
          </a:prstGeom>
          <a:solidFill>
            <a:srgbClr val="F7F7F7"/>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761701"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err="1">
              <a:ln>
                <a:noFill/>
              </a:ln>
              <a:solidFill>
                <a:srgbClr val="FFFFFF"/>
              </a:solidFill>
              <a:effectLst/>
              <a:uLnTx/>
              <a:uFillTx/>
              <a:latin typeface="Segoe UI"/>
              <a:ea typeface="+mn-ea"/>
              <a:cs typeface="+mn-cs"/>
            </a:endParaRPr>
          </a:p>
        </p:txBody>
      </p:sp>
      <p:pic>
        <p:nvPicPr>
          <p:cNvPr id="23" name="!!Picture 43" descr="A person wearing a headphone">
            <a:extLst>
              <a:ext uri="{FF2B5EF4-FFF2-40B4-BE49-F238E27FC236}">
                <a16:creationId xmlns:a16="http://schemas.microsoft.com/office/drawing/2014/main" id="{9D6862C7-4391-1758-4373-556C1EFFEBB3}"/>
              </a:ext>
              <a:ext uri="{C183D7F6-B498-43B3-948B-1728B52AA6E4}">
                <adec:decorative xmlns:adec="http://schemas.microsoft.com/office/drawing/2017/decorative" val="0"/>
              </a:ext>
            </a:extLst>
          </p:cNvPr>
          <p:cNvPicPr>
            <a:picLocks/>
          </p:cNvPicPr>
          <p:nvPr/>
        </p:nvPicPr>
        <p:blipFill rotWithShape="1">
          <a:blip r:embed="rId4" cstate="hqprint">
            <a:extLst>
              <a:ext uri="{28A0092B-C50C-407E-A947-70E740481C1C}">
                <a14:useLocalDpi xmlns:a14="http://schemas.microsoft.com/office/drawing/2010/main"/>
              </a:ext>
            </a:extLst>
          </a:blip>
          <a:srcRect l="1774" r="1774"/>
          <a:stretch/>
        </p:blipFill>
        <p:spPr>
          <a:xfrm>
            <a:off x="3115242" y="1659259"/>
            <a:ext cx="1082536" cy="1044190"/>
          </a:xfrm>
          <a:prstGeom prst="roundRect">
            <a:avLst>
              <a:gd name="adj" fmla="val 2776"/>
            </a:avLst>
          </a:prstGeom>
          <a:noFill/>
          <a:ln w="9525" cap="flat">
            <a:noFill/>
            <a:prstDash val="solid"/>
            <a:miter/>
          </a:ln>
          <a:effectLst/>
        </p:spPr>
      </p:pic>
      <p:pic>
        <p:nvPicPr>
          <p:cNvPr id="24" name="!!Picture 33" descr="A person looking at a paper">
            <a:extLst>
              <a:ext uri="{FF2B5EF4-FFF2-40B4-BE49-F238E27FC236}">
                <a16:creationId xmlns:a16="http://schemas.microsoft.com/office/drawing/2014/main" id="{3FF421FC-D9DA-05E3-C978-C9A2BE8C5281}"/>
              </a:ext>
              <a:ext uri="{C183D7F6-B498-43B3-948B-1728B52AA6E4}">
                <adec:decorative xmlns:adec="http://schemas.microsoft.com/office/drawing/2017/decorative" val="0"/>
              </a:ext>
            </a:extLst>
          </p:cNvPr>
          <p:cNvPicPr>
            <a:picLocks/>
          </p:cNvPicPr>
          <p:nvPr/>
        </p:nvPicPr>
        <p:blipFill rotWithShape="1">
          <a:blip r:embed="rId5" cstate="hqprint">
            <a:extLst>
              <a:ext uri="{28A0092B-C50C-407E-A947-70E740481C1C}">
                <a14:useLocalDpi xmlns:a14="http://schemas.microsoft.com/office/drawing/2010/main"/>
              </a:ext>
            </a:extLst>
          </a:blip>
          <a:srcRect l="1681" r="1681"/>
          <a:stretch/>
        </p:blipFill>
        <p:spPr>
          <a:xfrm>
            <a:off x="5553102" y="1659259"/>
            <a:ext cx="1082536" cy="1044190"/>
          </a:xfrm>
          <a:prstGeom prst="roundRect">
            <a:avLst>
              <a:gd name="adj" fmla="val 2776"/>
            </a:avLst>
          </a:prstGeom>
          <a:noFill/>
          <a:ln w="9525" cap="flat">
            <a:noFill/>
            <a:prstDash val="solid"/>
            <a:miter/>
          </a:ln>
          <a:effectLst/>
        </p:spPr>
      </p:pic>
      <p:pic>
        <p:nvPicPr>
          <p:cNvPr id="25" name="!!Picture 37" descr="A person holding a tablet">
            <a:extLst>
              <a:ext uri="{FF2B5EF4-FFF2-40B4-BE49-F238E27FC236}">
                <a16:creationId xmlns:a16="http://schemas.microsoft.com/office/drawing/2014/main" id="{FA74BE7F-5681-60B9-2BA7-F35F1CB5CFE1}"/>
              </a:ext>
              <a:ext uri="{C183D7F6-B498-43B3-948B-1728B52AA6E4}">
                <adec:decorative xmlns:adec="http://schemas.microsoft.com/office/drawing/2017/decorative" val="0"/>
              </a:ext>
            </a:extLst>
          </p:cNvPr>
          <p:cNvPicPr>
            <a:picLocks/>
          </p:cNvPicPr>
          <p:nvPr/>
        </p:nvPicPr>
        <p:blipFill rotWithShape="1">
          <a:blip r:embed="rId6" cstate="hqprint">
            <a:extLst>
              <a:ext uri="{28A0092B-C50C-407E-A947-70E740481C1C}">
                <a14:useLocalDpi xmlns:a14="http://schemas.microsoft.com/office/drawing/2010/main"/>
              </a:ext>
            </a:extLst>
          </a:blip>
          <a:srcRect l="1681" r="1681"/>
          <a:stretch/>
        </p:blipFill>
        <p:spPr>
          <a:xfrm>
            <a:off x="6772032" y="1659259"/>
            <a:ext cx="1082536" cy="1044190"/>
          </a:xfrm>
          <a:prstGeom prst="roundRect">
            <a:avLst>
              <a:gd name="adj" fmla="val 2776"/>
            </a:avLst>
          </a:prstGeom>
          <a:noFill/>
          <a:ln w="9525" cap="flat">
            <a:noFill/>
            <a:prstDash val="solid"/>
            <a:miter/>
          </a:ln>
          <a:effectLst/>
        </p:spPr>
      </p:pic>
      <p:pic>
        <p:nvPicPr>
          <p:cNvPr id="26" name="!!Picture 35" descr="A person in glasses looking at a computer">
            <a:extLst>
              <a:ext uri="{FF2B5EF4-FFF2-40B4-BE49-F238E27FC236}">
                <a16:creationId xmlns:a16="http://schemas.microsoft.com/office/drawing/2014/main" id="{88893209-AB4B-3439-8441-F64D42396E4C}"/>
              </a:ext>
              <a:ext uri="{C183D7F6-B498-43B3-948B-1728B52AA6E4}">
                <adec:decorative xmlns:adec="http://schemas.microsoft.com/office/drawing/2017/decorative" val="0"/>
              </a:ext>
            </a:extLst>
          </p:cNvPr>
          <p:cNvPicPr>
            <a:picLocks/>
          </p:cNvPicPr>
          <p:nvPr/>
        </p:nvPicPr>
        <p:blipFill rotWithShape="1">
          <a:blip r:embed="rId7" cstate="hqprint">
            <a:extLst>
              <a:ext uri="{28A0092B-C50C-407E-A947-70E740481C1C}">
                <a14:useLocalDpi xmlns:a14="http://schemas.microsoft.com/office/drawing/2010/main"/>
              </a:ext>
            </a:extLst>
          </a:blip>
          <a:srcRect l="1681" r="1681"/>
          <a:stretch/>
        </p:blipFill>
        <p:spPr>
          <a:xfrm>
            <a:off x="7990962" y="1659259"/>
            <a:ext cx="1082536" cy="1044190"/>
          </a:xfrm>
          <a:prstGeom prst="roundRect">
            <a:avLst>
              <a:gd name="adj" fmla="val 2776"/>
            </a:avLst>
          </a:prstGeom>
          <a:noFill/>
          <a:ln w="9525" cap="flat">
            <a:noFill/>
            <a:prstDash val="solid"/>
            <a:miter/>
          </a:ln>
          <a:effectLst/>
        </p:spPr>
      </p:pic>
      <p:pic>
        <p:nvPicPr>
          <p:cNvPr id="27" name="!!Picture 40">
            <a:extLst>
              <a:ext uri="{FF2B5EF4-FFF2-40B4-BE49-F238E27FC236}">
                <a16:creationId xmlns:a16="http://schemas.microsoft.com/office/drawing/2014/main" id="{6B4D65E7-BC37-B4F4-508D-95E619DC764A}"/>
              </a:ext>
              <a:ext uri="{C183D7F6-B498-43B3-948B-1728B52AA6E4}">
                <adec:decorative xmlns:adec="http://schemas.microsoft.com/office/drawing/2017/decorative" val="1"/>
              </a:ext>
            </a:extLst>
          </p:cNvPr>
          <p:cNvPicPr>
            <a:picLocks/>
          </p:cNvPicPr>
          <p:nvPr/>
        </p:nvPicPr>
        <p:blipFill rotWithShape="1">
          <a:blip r:embed="rId8" cstate="hqprint">
            <a:extLst>
              <a:ext uri="{28A0092B-C50C-407E-A947-70E740481C1C}">
                <a14:useLocalDpi xmlns:a14="http://schemas.microsoft.com/office/drawing/2010/main"/>
              </a:ext>
            </a:extLst>
          </a:blip>
          <a:srcRect l="7756" r="7756"/>
          <a:stretch/>
        </p:blipFill>
        <p:spPr>
          <a:xfrm>
            <a:off x="9209892" y="1659259"/>
            <a:ext cx="1082536" cy="1044190"/>
          </a:xfrm>
          <a:prstGeom prst="rect">
            <a:avLst/>
          </a:prstGeom>
        </p:spPr>
      </p:pic>
      <p:pic>
        <p:nvPicPr>
          <p:cNvPr id="28" name="!!Picture 66">
            <a:extLst>
              <a:ext uri="{FF2B5EF4-FFF2-40B4-BE49-F238E27FC236}">
                <a16:creationId xmlns:a16="http://schemas.microsoft.com/office/drawing/2014/main" id="{1D10A5D5-7C28-F54C-DDF0-32E8DA1AB136}"/>
              </a:ext>
              <a:ext uri="{C183D7F6-B498-43B3-948B-1728B52AA6E4}">
                <adec:decorative xmlns:adec="http://schemas.microsoft.com/office/drawing/2017/decorative" val="1"/>
              </a:ext>
            </a:extLst>
          </p:cNvPr>
          <p:cNvPicPr>
            <a:picLocks/>
          </p:cNvPicPr>
          <p:nvPr/>
        </p:nvPicPr>
        <p:blipFill rotWithShape="1">
          <a:blip r:embed="rId9" cstate="hqprint">
            <a:extLst>
              <a:ext uri="{28A0092B-C50C-407E-A947-70E740481C1C}">
                <a14:useLocalDpi xmlns:a14="http://schemas.microsoft.com/office/drawing/2010/main"/>
              </a:ext>
            </a:extLst>
          </a:blip>
          <a:srcRect t="2363" b="2363"/>
          <a:stretch/>
        </p:blipFill>
        <p:spPr>
          <a:xfrm>
            <a:off x="10428820" y="1659259"/>
            <a:ext cx="1082536" cy="1044190"/>
          </a:xfrm>
          <a:prstGeom prst="roundRect">
            <a:avLst>
              <a:gd name="adj" fmla="val 2776"/>
            </a:avLst>
          </a:prstGeom>
          <a:noFill/>
          <a:ln w="9525" cap="flat">
            <a:noFill/>
            <a:prstDash val="solid"/>
            <a:miter/>
          </a:ln>
          <a:effectLst/>
        </p:spPr>
      </p:pic>
      <p:sp>
        <p:nvSpPr>
          <p:cNvPr id="29" name="Rectangle: Rounded Corners 28">
            <a:extLst>
              <a:ext uri="{FF2B5EF4-FFF2-40B4-BE49-F238E27FC236}">
                <a16:creationId xmlns:a16="http://schemas.microsoft.com/office/drawing/2014/main" id="{3C5B2882-BCFD-AF08-1456-0FCE3917DD94}"/>
              </a:ext>
              <a:ext uri="{C183D7F6-B498-43B3-948B-1728B52AA6E4}">
                <adec:decorative xmlns:adec="http://schemas.microsoft.com/office/drawing/2017/decorative" val="1"/>
              </a:ext>
            </a:extLst>
          </p:cNvPr>
          <p:cNvSpPr>
            <a:spLocks/>
          </p:cNvSpPr>
          <p:nvPr/>
        </p:nvSpPr>
        <p:spPr bwMode="auto">
          <a:xfrm>
            <a:off x="3115242" y="3936392"/>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0" name="Rectangle: Rounded Corners 29">
            <a:extLst>
              <a:ext uri="{FF2B5EF4-FFF2-40B4-BE49-F238E27FC236}">
                <a16:creationId xmlns:a16="http://schemas.microsoft.com/office/drawing/2014/main" id="{ABB2B7B0-D43B-207E-7C34-8C668B7D755C}"/>
              </a:ext>
              <a:ext uri="{C183D7F6-B498-43B3-948B-1728B52AA6E4}">
                <adec:decorative xmlns:adec="http://schemas.microsoft.com/office/drawing/2017/decorative" val="1"/>
              </a:ext>
            </a:extLst>
          </p:cNvPr>
          <p:cNvSpPr>
            <a:spLocks/>
          </p:cNvSpPr>
          <p:nvPr/>
        </p:nvSpPr>
        <p:spPr bwMode="auto">
          <a:xfrm>
            <a:off x="3115242" y="4653603"/>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1" name="!!Rectangle: Top Corners Rounded 10">
            <a:extLst>
              <a:ext uri="{FF2B5EF4-FFF2-40B4-BE49-F238E27FC236}">
                <a16:creationId xmlns:a16="http://schemas.microsoft.com/office/drawing/2014/main" id="{153F33B9-0674-FD76-F76A-97CA16D3689D}"/>
              </a:ext>
              <a:ext uri="{C183D7F6-B498-43B3-948B-1728B52AA6E4}">
                <adec:decorative xmlns:adec="http://schemas.microsoft.com/office/drawing/2017/decorative" val="0"/>
              </a:ext>
            </a:extLst>
          </p:cNvPr>
          <p:cNvSpPr/>
          <p:nvPr/>
        </p:nvSpPr>
        <p:spPr bwMode="auto">
          <a:xfrm>
            <a:off x="3112292" y="2785372"/>
            <a:ext cx="1082536" cy="163145"/>
          </a:xfrm>
          <a:prstGeom prst="rect">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w="3175">
                  <a:noFill/>
                </a:ln>
                <a:solidFill>
                  <a:srgbClr val="29446F"/>
                </a:solidFill>
                <a:effectLst/>
                <a:uLnTx/>
                <a:uFillTx/>
                <a:latin typeface="Segoe Sans Display"/>
                <a:ea typeface="+mn-ea"/>
                <a:cs typeface="+mn-cs"/>
              </a:rPr>
              <a:t>Customer Service</a:t>
            </a:r>
          </a:p>
        </p:txBody>
      </p:sp>
      <p:sp>
        <p:nvSpPr>
          <p:cNvPr id="32" name="Rectangle: Rounded Corners 18">
            <a:extLst>
              <a:ext uri="{FF2B5EF4-FFF2-40B4-BE49-F238E27FC236}">
                <a16:creationId xmlns:a16="http://schemas.microsoft.com/office/drawing/2014/main" id="{B060D790-F26C-D83B-5C06-23D8A3F9000A}"/>
              </a:ext>
              <a:ext uri="{C183D7F6-B498-43B3-948B-1728B52AA6E4}">
                <adec:decorative xmlns:adec="http://schemas.microsoft.com/office/drawing/2017/decorative" val="0"/>
              </a:ext>
            </a:extLst>
          </p:cNvPr>
          <p:cNvSpPr/>
          <p:nvPr/>
        </p:nvSpPr>
        <p:spPr bwMode="auto">
          <a:xfrm>
            <a:off x="4334172" y="2785372"/>
            <a:ext cx="1082536" cy="163145"/>
          </a:xfrm>
          <a:prstGeom prst="rect">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w="3175">
                  <a:noFill/>
                </a:ln>
                <a:solidFill>
                  <a:srgbClr val="29446F"/>
                </a:solidFill>
                <a:effectLst/>
                <a:uLnTx/>
                <a:uFillTx/>
                <a:latin typeface="Segoe Sans Display"/>
                <a:ea typeface="+mn-ea"/>
                <a:cs typeface="+mn-cs"/>
              </a:rPr>
              <a:t>Sales</a:t>
            </a:r>
          </a:p>
        </p:txBody>
      </p:sp>
      <p:sp>
        <p:nvSpPr>
          <p:cNvPr id="33" name="Rectangle: Rounded Corners 18">
            <a:extLst>
              <a:ext uri="{FF2B5EF4-FFF2-40B4-BE49-F238E27FC236}">
                <a16:creationId xmlns:a16="http://schemas.microsoft.com/office/drawing/2014/main" id="{3D40CC73-8E04-97CD-00AE-F3CA21D62ABE}"/>
              </a:ext>
              <a:ext uri="{C183D7F6-B498-43B3-948B-1728B52AA6E4}">
                <adec:decorative xmlns:adec="http://schemas.microsoft.com/office/drawing/2017/decorative" val="0"/>
              </a:ext>
            </a:extLst>
          </p:cNvPr>
          <p:cNvSpPr/>
          <p:nvPr/>
        </p:nvSpPr>
        <p:spPr bwMode="auto">
          <a:xfrm>
            <a:off x="5553102" y="2785372"/>
            <a:ext cx="1082536" cy="163145"/>
          </a:xfrm>
          <a:prstGeom prst="rect">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w="3175">
                  <a:noFill/>
                </a:ln>
                <a:solidFill>
                  <a:srgbClr val="29446F"/>
                </a:solidFill>
                <a:effectLst/>
                <a:uLnTx/>
                <a:uFillTx/>
                <a:latin typeface="Segoe Sans Display"/>
                <a:ea typeface="+mn-ea"/>
                <a:cs typeface="+mn-cs"/>
              </a:rPr>
              <a:t>Finance</a:t>
            </a:r>
          </a:p>
        </p:txBody>
      </p:sp>
      <p:sp>
        <p:nvSpPr>
          <p:cNvPr id="34" name="Rectangle: Rounded Corners 18">
            <a:extLst>
              <a:ext uri="{FF2B5EF4-FFF2-40B4-BE49-F238E27FC236}">
                <a16:creationId xmlns:a16="http://schemas.microsoft.com/office/drawing/2014/main" id="{F137BA47-0A9D-7088-E8BB-684118BF51A8}"/>
              </a:ext>
              <a:ext uri="{C183D7F6-B498-43B3-948B-1728B52AA6E4}">
                <adec:decorative xmlns:adec="http://schemas.microsoft.com/office/drawing/2017/decorative" val="0"/>
              </a:ext>
            </a:extLst>
          </p:cNvPr>
          <p:cNvSpPr/>
          <p:nvPr/>
        </p:nvSpPr>
        <p:spPr bwMode="auto">
          <a:xfrm>
            <a:off x="6772032" y="2785372"/>
            <a:ext cx="1082536" cy="163145"/>
          </a:xfrm>
          <a:prstGeom prst="rect">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w="3175">
                  <a:noFill/>
                </a:ln>
                <a:solidFill>
                  <a:srgbClr val="29446F"/>
                </a:solidFill>
                <a:effectLst/>
                <a:uLnTx/>
                <a:uFillTx/>
                <a:latin typeface="Segoe Sans Display"/>
                <a:ea typeface="+mn-ea"/>
                <a:cs typeface="+mn-cs"/>
              </a:rPr>
              <a:t>Marketing</a:t>
            </a:r>
          </a:p>
        </p:txBody>
      </p:sp>
      <p:sp>
        <p:nvSpPr>
          <p:cNvPr id="35" name="Rectangle: Rounded Corners 18">
            <a:extLst>
              <a:ext uri="{FF2B5EF4-FFF2-40B4-BE49-F238E27FC236}">
                <a16:creationId xmlns:a16="http://schemas.microsoft.com/office/drawing/2014/main" id="{FD4A8C1C-FF69-F6BD-2BFA-8909E430C44C}"/>
              </a:ext>
              <a:ext uri="{C183D7F6-B498-43B3-948B-1728B52AA6E4}">
                <adec:decorative xmlns:adec="http://schemas.microsoft.com/office/drawing/2017/decorative" val="0"/>
              </a:ext>
            </a:extLst>
          </p:cNvPr>
          <p:cNvSpPr/>
          <p:nvPr/>
        </p:nvSpPr>
        <p:spPr bwMode="auto">
          <a:xfrm>
            <a:off x="7990962" y="2785372"/>
            <a:ext cx="1082536" cy="163145"/>
          </a:xfrm>
          <a:prstGeom prst="rect">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w="3175">
                  <a:noFill/>
                </a:ln>
                <a:solidFill>
                  <a:srgbClr val="29446F"/>
                </a:solidFill>
                <a:effectLst/>
                <a:uLnTx/>
                <a:uFillTx/>
                <a:latin typeface="Segoe Sans Display"/>
                <a:ea typeface="+mn-ea"/>
                <a:cs typeface="+mn-cs"/>
              </a:rPr>
              <a:t>HR</a:t>
            </a:r>
          </a:p>
        </p:txBody>
      </p:sp>
      <p:sp>
        <p:nvSpPr>
          <p:cNvPr id="36" name="Rectangle: Rounded Corners 18">
            <a:extLst>
              <a:ext uri="{FF2B5EF4-FFF2-40B4-BE49-F238E27FC236}">
                <a16:creationId xmlns:a16="http://schemas.microsoft.com/office/drawing/2014/main" id="{4D100F61-8766-BC94-4A6F-165F93C45D34}"/>
              </a:ext>
              <a:ext uri="{C183D7F6-B498-43B3-948B-1728B52AA6E4}">
                <adec:decorative xmlns:adec="http://schemas.microsoft.com/office/drawing/2017/decorative" val="0"/>
              </a:ext>
            </a:extLst>
          </p:cNvPr>
          <p:cNvSpPr/>
          <p:nvPr/>
        </p:nvSpPr>
        <p:spPr bwMode="auto">
          <a:xfrm>
            <a:off x="9209892" y="2785372"/>
            <a:ext cx="1082536" cy="163145"/>
          </a:xfrm>
          <a:prstGeom prst="rect">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w="3175">
                  <a:noFill/>
                </a:ln>
                <a:solidFill>
                  <a:srgbClr val="29446F"/>
                </a:solidFill>
                <a:effectLst/>
                <a:uLnTx/>
                <a:uFillTx/>
                <a:latin typeface="Segoe Sans Display"/>
                <a:ea typeface="+mn-ea"/>
                <a:cs typeface="+mn-cs"/>
              </a:rPr>
              <a:t>Legal</a:t>
            </a:r>
          </a:p>
        </p:txBody>
      </p:sp>
      <p:sp>
        <p:nvSpPr>
          <p:cNvPr id="37" name="Rectangle: Rounded Corners 18">
            <a:extLst>
              <a:ext uri="{FF2B5EF4-FFF2-40B4-BE49-F238E27FC236}">
                <a16:creationId xmlns:a16="http://schemas.microsoft.com/office/drawing/2014/main" id="{E65251B7-85E5-6C0D-AEA6-6E4CF41C86D1}"/>
              </a:ext>
              <a:ext uri="{C183D7F6-B498-43B3-948B-1728B52AA6E4}">
                <adec:decorative xmlns:adec="http://schemas.microsoft.com/office/drawing/2017/decorative" val="0"/>
              </a:ext>
            </a:extLst>
          </p:cNvPr>
          <p:cNvSpPr/>
          <p:nvPr/>
        </p:nvSpPr>
        <p:spPr bwMode="auto">
          <a:xfrm>
            <a:off x="10428820" y="2785372"/>
            <a:ext cx="1082536" cy="163145"/>
          </a:xfrm>
          <a:prstGeom prst="rect">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w="3175">
                  <a:noFill/>
                </a:ln>
                <a:solidFill>
                  <a:srgbClr val="29446F"/>
                </a:solidFill>
                <a:effectLst/>
                <a:uLnTx/>
                <a:uFillTx/>
                <a:latin typeface="Segoe Sans Display"/>
                <a:ea typeface="+mn-ea"/>
                <a:cs typeface="+mn-cs"/>
              </a:rPr>
              <a:t>IT</a:t>
            </a:r>
          </a:p>
        </p:txBody>
      </p:sp>
      <p:sp>
        <p:nvSpPr>
          <p:cNvPr id="38" name="Rectangle: Rounded Corners 37">
            <a:extLst>
              <a:ext uri="{FF2B5EF4-FFF2-40B4-BE49-F238E27FC236}">
                <a16:creationId xmlns:a16="http://schemas.microsoft.com/office/drawing/2014/main" id="{1436EEA3-8C8B-0D12-B896-030C2A98229E}"/>
              </a:ext>
              <a:ext uri="{C183D7F6-B498-43B3-948B-1728B52AA6E4}">
                <adec:decorative xmlns:adec="http://schemas.microsoft.com/office/drawing/2017/decorative" val="1"/>
              </a:ext>
            </a:extLst>
          </p:cNvPr>
          <p:cNvSpPr>
            <a:spLocks/>
          </p:cNvSpPr>
          <p:nvPr/>
        </p:nvSpPr>
        <p:spPr bwMode="auto">
          <a:xfrm>
            <a:off x="4334171" y="3936392"/>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9" name="Rectangle: Rounded Corners 38">
            <a:extLst>
              <a:ext uri="{FF2B5EF4-FFF2-40B4-BE49-F238E27FC236}">
                <a16:creationId xmlns:a16="http://schemas.microsoft.com/office/drawing/2014/main" id="{117B574A-1D51-41C8-3A1C-2A2CE472E547}"/>
              </a:ext>
              <a:ext uri="{C183D7F6-B498-43B3-948B-1728B52AA6E4}">
                <adec:decorative xmlns:adec="http://schemas.microsoft.com/office/drawing/2017/decorative" val="1"/>
              </a:ext>
            </a:extLst>
          </p:cNvPr>
          <p:cNvSpPr>
            <a:spLocks/>
          </p:cNvSpPr>
          <p:nvPr/>
        </p:nvSpPr>
        <p:spPr bwMode="auto">
          <a:xfrm>
            <a:off x="4334171" y="4653603"/>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0" name="Rectangle: Rounded Corners 39">
            <a:extLst>
              <a:ext uri="{FF2B5EF4-FFF2-40B4-BE49-F238E27FC236}">
                <a16:creationId xmlns:a16="http://schemas.microsoft.com/office/drawing/2014/main" id="{245D5C8F-530D-AE64-02E9-B27D8593A44F}"/>
              </a:ext>
              <a:ext uri="{C183D7F6-B498-43B3-948B-1728B52AA6E4}">
                <adec:decorative xmlns:adec="http://schemas.microsoft.com/office/drawing/2017/decorative" val="1"/>
              </a:ext>
            </a:extLst>
          </p:cNvPr>
          <p:cNvSpPr>
            <a:spLocks/>
          </p:cNvSpPr>
          <p:nvPr/>
        </p:nvSpPr>
        <p:spPr bwMode="auto">
          <a:xfrm>
            <a:off x="5553101" y="3936392"/>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1" name="Rectangle: Rounded Corners 40">
            <a:extLst>
              <a:ext uri="{FF2B5EF4-FFF2-40B4-BE49-F238E27FC236}">
                <a16:creationId xmlns:a16="http://schemas.microsoft.com/office/drawing/2014/main" id="{DE5FA60C-D91E-A8A2-DA8A-75F1257B47DA}"/>
              </a:ext>
              <a:ext uri="{C183D7F6-B498-43B3-948B-1728B52AA6E4}">
                <adec:decorative xmlns:adec="http://schemas.microsoft.com/office/drawing/2017/decorative" val="1"/>
              </a:ext>
            </a:extLst>
          </p:cNvPr>
          <p:cNvSpPr>
            <a:spLocks/>
          </p:cNvSpPr>
          <p:nvPr/>
        </p:nvSpPr>
        <p:spPr bwMode="auto">
          <a:xfrm>
            <a:off x="5553101" y="4653603"/>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2" name="Rectangle: Rounded Corners 41">
            <a:extLst>
              <a:ext uri="{FF2B5EF4-FFF2-40B4-BE49-F238E27FC236}">
                <a16:creationId xmlns:a16="http://schemas.microsoft.com/office/drawing/2014/main" id="{2865F84C-D912-86FD-8FB8-5EEDF31E9327}"/>
              </a:ext>
              <a:ext uri="{C183D7F6-B498-43B3-948B-1728B52AA6E4}">
                <adec:decorative xmlns:adec="http://schemas.microsoft.com/office/drawing/2017/decorative" val="1"/>
              </a:ext>
            </a:extLst>
          </p:cNvPr>
          <p:cNvSpPr>
            <a:spLocks/>
          </p:cNvSpPr>
          <p:nvPr/>
        </p:nvSpPr>
        <p:spPr bwMode="auto">
          <a:xfrm>
            <a:off x="6772031" y="3219182"/>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3" name="Rectangle: Rounded Corners 42">
            <a:extLst>
              <a:ext uri="{FF2B5EF4-FFF2-40B4-BE49-F238E27FC236}">
                <a16:creationId xmlns:a16="http://schemas.microsoft.com/office/drawing/2014/main" id="{438BE2D2-556D-AFED-EA10-487DAEC633BF}"/>
              </a:ext>
              <a:ext uri="{C183D7F6-B498-43B3-948B-1728B52AA6E4}">
                <adec:decorative xmlns:adec="http://schemas.microsoft.com/office/drawing/2017/decorative" val="1"/>
              </a:ext>
            </a:extLst>
          </p:cNvPr>
          <p:cNvSpPr>
            <a:spLocks/>
          </p:cNvSpPr>
          <p:nvPr/>
        </p:nvSpPr>
        <p:spPr bwMode="auto">
          <a:xfrm>
            <a:off x="6772031" y="3936392"/>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4" name="Rectangle: Rounded Corners 43">
            <a:extLst>
              <a:ext uri="{FF2B5EF4-FFF2-40B4-BE49-F238E27FC236}">
                <a16:creationId xmlns:a16="http://schemas.microsoft.com/office/drawing/2014/main" id="{A62C4500-FD62-8CE3-48E9-A177F2EA78AD}"/>
              </a:ext>
              <a:ext uri="{C183D7F6-B498-43B3-948B-1728B52AA6E4}">
                <adec:decorative xmlns:adec="http://schemas.microsoft.com/office/drawing/2017/decorative" val="1"/>
              </a:ext>
            </a:extLst>
          </p:cNvPr>
          <p:cNvSpPr>
            <a:spLocks/>
          </p:cNvSpPr>
          <p:nvPr/>
        </p:nvSpPr>
        <p:spPr bwMode="auto">
          <a:xfrm>
            <a:off x="6772031" y="4653603"/>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5" name="Rectangle: Rounded Corners 44">
            <a:extLst>
              <a:ext uri="{FF2B5EF4-FFF2-40B4-BE49-F238E27FC236}">
                <a16:creationId xmlns:a16="http://schemas.microsoft.com/office/drawing/2014/main" id="{27BEC401-2365-8285-316B-86E1D5377CC7}"/>
              </a:ext>
              <a:ext uri="{C183D7F6-B498-43B3-948B-1728B52AA6E4}">
                <adec:decorative xmlns:adec="http://schemas.microsoft.com/office/drawing/2017/decorative" val="1"/>
              </a:ext>
            </a:extLst>
          </p:cNvPr>
          <p:cNvSpPr>
            <a:spLocks/>
          </p:cNvSpPr>
          <p:nvPr/>
        </p:nvSpPr>
        <p:spPr bwMode="auto">
          <a:xfrm>
            <a:off x="7990961" y="3219182"/>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46" name="Rectangle: Rounded Corners 45">
            <a:extLst>
              <a:ext uri="{FF2B5EF4-FFF2-40B4-BE49-F238E27FC236}">
                <a16:creationId xmlns:a16="http://schemas.microsoft.com/office/drawing/2014/main" id="{6DD9859F-F7F5-1CD8-A11B-F502B50F7081}"/>
              </a:ext>
              <a:ext uri="{C183D7F6-B498-43B3-948B-1728B52AA6E4}">
                <adec:decorative xmlns:adec="http://schemas.microsoft.com/office/drawing/2017/decorative" val="1"/>
              </a:ext>
            </a:extLst>
          </p:cNvPr>
          <p:cNvSpPr>
            <a:spLocks/>
          </p:cNvSpPr>
          <p:nvPr/>
        </p:nvSpPr>
        <p:spPr bwMode="auto">
          <a:xfrm>
            <a:off x="7990961" y="3936392"/>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7" name="Rectangle: Rounded Corners 46">
            <a:extLst>
              <a:ext uri="{FF2B5EF4-FFF2-40B4-BE49-F238E27FC236}">
                <a16:creationId xmlns:a16="http://schemas.microsoft.com/office/drawing/2014/main" id="{7963BE20-D989-A4BE-70D0-891CE0915936}"/>
              </a:ext>
              <a:ext uri="{C183D7F6-B498-43B3-948B-1728B52AA6E4}">
                <adec:decorative xmlns:adec="http://schemas.microsoft.com/office/drawing/2017/decorative" val="1"/>
              </a:ext>
            </a:extLst>
          </p:cNvPr>
          <p:cNvSpPr>
            <a:spLocks/>
          </p:cNvSpPr>
          <p:nvPr/>
        </p:nvSpPr>
        <p:spPr bwMode="auto">
          <a:xfrm>
            <a:off x="7990961" y="4653603"/>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48" name="!Rectangle: Rounded Corners 1078">
            <a:extLst>
              <a:ext uri="{FF2B5EF4-FFF2-40B4-BE49-F238E27FC236}">
                <a16:creationId xmlns:a16="http://schemas.microsoft.com/office/drawing/2014/main" id="{95617661-73C0-1154-9895-C1337901B620}"/>
              </a:ext>
              <a:ext uri="{C183D7F6-B498-43B3-948B-1728B52AA6E4}">
                <adec:decorative xmlns:adec="http://schemas.microsoft.com/office/drawing/2017/decorative" val="1"/>
              </a:ext>
            </a:extLst>
          </p:cNvPr>
          <p:cNvSpPr>
            <a:spLocks/>
          </p:cNvSpPr>
          <p:nvPr/>
        </p:nvSpPr>
        <p:spPr bwMode="auto">
          <a:xfrm>
            <a:off x="9209890" y="3219182"/>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49" name="Rectangle: Rounded Corners 48">
            <a:extLst>
              <a:ext uri="{FF2B5EF4-FFF2-40B4-BE49-F238E27FC236}">
                <a16:creationId xmlns:a16="http://schemas.microsoft.com/office/drawing/2014/main" id="{76D12BD2-CB05-BB10-8C08-14F25264193F}"/>
              </a:ext>
              <a:ext uri="{C183D7F6-B498-43B3-948B-1728B52AA6E4}">
                <adec:decorative xmlns:adec="http://schemas.microsoft.com/office/drawing/2017/decorative" val="1"/>
              </a:ext>
            </a:extLst>
          </p:cNvPr>
          <p:cNvSpPr>
            <a:spLocks/>
          </p:cNvSpPr>
          <p:nvPr/>
        </p:nvSpPr>
        <p:spPr bwMode="auto">
          <a:xfrm>
            <a:off x="9209890" y="3936392"/>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0" name="Rectangle: Rounded Corners 49">
            <a:extLst>
              <a:ext uri="{FF2B5EF4-FFF2-40B4-BE49-F238E27FC236}">
                <a16:creationId xmlns:a16="http://schemas.microsoft.com/office/drawing/2014/main" id="{531D3A04-8F60-CB3A-2172-1C34D595C70D}"/>
              </a:ext>
              <a:ext uri="{C183D7F6-B498-43B3-948B-1728B52AA6E4}">
                <adec:decorative xmlns:adec="http://schemas.microsoft.com/office/drawing/2017/decorative" val="1"/>
              </a:ext>
            </a:extLst>
          </p:cNvPr>
          <p:cNvSpPr>
            <a:spLocks/>
          </p:cNvSpPr>
          <p:nvPr/>
        </p:nvSpPr>
        <p:spPr bwMode="auto">
          <a:xfrm>
            <a:off x="9209890" y="4653603"/>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1" name="Rectangle: Rounded Corners 50">
            <a:extLst>
              <a:ext uri="{FF2B5EF4-FFF2-40B4-BE49-F238E27FC236}">
                <a16:creationId xmlns:a16="http://schemas.microsoft.com/office/drawing/2014/main" id="{6AC7CCD6-76CF-7717-4A6A-22802FC2B9AA}"/>
              </a:ext>
              <a:ext uri="{C183D7F6-B498-43B3-948B-1728B52AA6E4}">
                <adec:decorative xmlns:adec="http://schemas.microsoft.com/office/drawing/2017/decorative" val="1"/>
              </a:ext>
            </a:extLst>
          </p:cNvPr>
          <p:cNvSpPr>
            <a:spLocks/>
          </p:cNvSpPr>
          <p:nvPr/>
        </p:nvSpPr>
        <p:spPr bwMode="auto">
          <a:xfrm>
            <a:off x="10428820" y="3219182"/>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2" name="Rectangle: Rounded Corners 51">
            <a:extLst>
              <a:ext uri="{FF2B5EF4-FFF2-40B4-BE49-F238E27FC236}">
                <a16:creationId xmlns:a16="http://schemas.microsoft.com/office/drawing/2014/main" id="{68A2D76B-F55F-BD81-622A-968548F4598C}"/>
              </a:ext>
              <a:ext uri="{C183D7F6-B498-43B3-948B-1728B52AA6E4}">
                <adec:decorative xmlns:adec="http://schemas.microsoft.com/office/drawing/2017/decorative" val="1"/>
              </a:ext>
            </a:extLst>
          </p:cNvPr>
          <p:cNvSpPr>
            <a:spLocks/>
          </p:cNvSpPr>
          <p:nvPr/>
        </p:nvSpPr>
        <p:spPr bwMode="auto">
          <a:xfrm>
            <a:off x="10428820" y="3936392"/>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3" name="Rectangle: Rounded Corners 52">
            <a:extLst>
              <a:ext uri="{FF2B5EF4-FFF2-40B4-BE49-F238E27FC236}">
                <a16:creationId xmlns:a16="http://schemas.microsoft.com/office/drawing/2014/main" id="{74D823B9-CBE5-A6A1-B63F-4E11EB8CFF6D}"/>
              </a:ext>
              <a:ext uri="{C183D7F6-B498-43B3-948B-1728B52AA6E4}">
                <adec:decorative xmlns:adec="http://schemas.microsoft.com/office/drawing/2017/decorative" val="1"/>
              </a:ext>
            </a:extLst>
          </p:cNvPr>
          <p:cNvSpPr>
            <a:spLocks/>
          </p:cNvSpPr>
          <p:nvPr/>
        </p:nvSpPr>
        <p:spPr bwMode="auto">
          <a:xfrm>
            <a:off x="10428820" y="4653603"/>
            <a:ext cx="1082536" cy="671491"/>
          </a:xfrm>
          <a:prstGeom prst="roundRect">
            <a:avLst>
              <a:gd name="adj" fmla="val 48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54" name="Picture 10" descr="Download monday.com Logo in SVG Vector or PNG File Format - Logo.wine">
            <a:extLst>
              <a:ext uri="{FF2B5EF4-FFF2-40B4-BE49-F238E27FC236}">
                <a16:creationId xmlns:a16="http://schemas.microsoft.com/office/drawing/2014/main" id="{839304CA-D7F3-59EF-1D71-F36C7B2BA270}"/>
              </a:ext>
            </a:extLst>
          </p:cNvPr>
          <p:cNvPicPr>
            <a:picLocks noChangeArrowheads="1"/>
          </p:cNvPicPr>
          <p:nvPr/>
        </p:nvPicPr>
        <p:blipFill rotWithShape="1">
          <a:blip r:embed="rId10">
            <a:extLst>
              <a:ext uri="{28A0092B-C50C-407E-A947-70E740481C1C}">
                <a14:useLocalDpi xmlns:a14="http://schemas.microsoft.com/office/drawing/2010/main" val="0"/>
              </a:ext>
            </a:extLst>
          </a:blip>
          <a:srcRect l="11172" t="33818" r="11172" b="33818"/>
          <a:stretch/>
        </p:blipFill>
        <p:spPr bwMode="auto">
          <a:xfrm rot="10800000" flipH="1" flipV="1">
            <a:off x="737152" y="4133733"/>
            <a:ext cx="996272" cy="27680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4" descr="Priority Matrix">
            <a:extLst>
              <a:ext uri="{FF2B5EF4-FFF2-40B4-BE49-F238E27FC236}">
                <a16:creationId xmlns:a16="http://schemas.microsoft.com/office/drawing/2014/main" id="{40B2287D-4EA9-4714-2724-96BDA66D3B37}"/>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16256" y="4899126"/>
            <a:ext cx="1038064" cy="180444"/>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8" descr="Seismic logo transparent PNG - StickPNG">
            <a:extLst>
              <a:ext uri="{FF2B5EF4-FFF2-40B4-BE49-F238E27FC236}">
                <a16:creationId xmlns:a16="http://schemas.microsoft.com/office/drawing/2014/main" id="{3CB72B23-5049-5CE4-0BDC-047E29D14626}"/>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374357" y="4835173"/>
            <a:ext cx="1002166" cy="30835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6" descr="Freshworks – Logos Download">
            <a:extLst>
              <a:ext uri="{FF2B5EF4-FFF2-40B4-BE49-F238E27FC236}">
                <a16:creationId xmlns:a16="http://schemas.microsoft.com/office/drawing/2014/main" id="{3478C617-84C8-BFC1-35BE-8607059034A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207745" y="4182091"/>
            <a:ext cx="897530" cy="180092"/>
          </a:xfrm>
          <a:prstGeom prst="rect">
            <a:avLst/>
          </a:prstGeom>
          <a:noFill/>
          <a:extLst>
            <a:ext uri="{909E8E84-426E-40DD-AFC4-6F175D3DCCD1}">
              <a14:hiddenFill xmlns:a14="http://schemas.microsoft.com/office/drawing/2010/main">
                <a:solidFill>
                  <a:srgbClr val="FFFFFF"/>
                </a:solidFill>
              </a14:hiddenFill>
            </a:ext>
          </a:extLst>
        </p:spPr>
      </p:pic>
      <p:pic>
        <p:nvPicPr>
          <p:cNvPr id="58" name="Graphic 57">
            <a:extLst>
              <a:ext uri="{FF2B5EF4-FFF2-40B4-BE49-F238E27FC236}">
                <a16:creationId xmlns:a16="http://schemas.microsoft.com/office/drawing/2014/main" id="{6C6BC1A0-E0EC-2A53-DBDC-319CA1609A6D}"/>
              </a:ext>
            </a:extLst>
          </p:cNvPr>
          <p:cNvPicPr>
            <a:picLocks/>
          </p:cNvPicPr>
          <p:nvPr/>
        </p:nvPicPr>
        <p:blipFill>
          <a:blip>
            <a:extLst>
              <a:ext uri="{96DAC541-7B7A-43D3-8B79-37D633B846F1}">
                <asvg:svgBlip xmlns:asvg="http://schemas.microsoft.com/office/drawing/2016/SVG/main" r:embed="rId14"/>
              </a:ext>
            </a:extLst>
          </a:blip>
          <a:stretch>
            <a:fillRect/>
          </a:stretch>
        </p:blipFill>
        <p:spPr>
          <a:xfrm>
            <a:off x="9329616" y="3439961"/>
            <a:ext cx="843084" cy="229932"/>
          </a:xfrm>
          <a:prstGeom prst="rect">
            <a:avLst/>
          </a:prstGeom>
        </p:spPr>
      </p:pic>
      <p:pic>
        <p:nvPicPr>
          <p:cNvPr id="59" name="Picture 36" descr="Lumapps - PointStar Indonesia">
            <a:extLst>
              <a:ext uri="{FF2B5EF4-FFF2-40B4-BE49-F238E27FC236}">
                <a16:creationId xmlns:a16="http://schemas.microsoft.com/office/drawing/2014/main" id="{524D60CA-3882-A80D-86E6-760A3D1F01B9}"/>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38130" b="38130"/>
          <a:stretch/>
        </p:blipFill>
        <p:spPr bwMode="auto">
          <a:xfrm>
            <a:off x="8041904" y="4155734"/>
            <a:ext cx="980648" cy="23280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38" descr="Ramp Logo - PNG Logo Vector Brand Downloads (SVG, EPS)">
            <a:extLst>
              <a:ext uri="{FF2B5EF4-FFF2-40B4-BE49-F238E27FC236}">
                <a16:creationId xmlns:a16="http://schemas.microsoft.com/office/drawing/2014/main" id="{649FF9B6-E6B4-51A4-1F55-C1DE5647057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657317" y="4155734"/>
            <a:ext cx="874104" cy="23280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2" descr="Mural Jobs and Company Culture">
            <a:extLst>
              <a:ext uri="{FF2B5EF4-FFF2-40B4-BE49-F238E27FC236}">
                <a16:creationId xmlns:a16="http://schemas.microsoft.com/office/drawing/2014/main" id="{4764AEC0-E909-E5FD-CBF9-956A2C8495E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76327" y="4078617"/>
            <a:ext cx="870842" cy="38704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descr="A blue and black logo&#10;&#10;Description automatically generated">
            <a:extLst>
              <a:ext uri="{FF2B5EF4-FFF2-40B4-BE49-F238E27FC236}">
                <a16:creationId xmlns:a16="http://schemas.microsoft.com/office/drawing/2014/main" id="{02F70761-719B-5B89-E1DE-32B0A712D271}"/>
              </a:ext>
            </a:extLst>
          </p:cNvPr>
          <p:cNvPicPr>
            <a:picLocks noChangeAspect="1"/>
          </p:cNvPicPr>
          <p:nvPr/>
        </p:nvPicPr>
        <p:blipFill rotWithShape="1">
          <a:blip r:embed="rId18">
            <a:extLst>
              <a:ext uri="{28A0092B-C50C-407E-A947-70E740481C1C}">
                <a14:useLocalDpi xmlns:a14="http://schemas.microsoft.com/office/drawing/2010/main" val="0"/>
              </a:ext>
            </a:extLst>
          </a:blip>
          <a:srcRect t="22812" b="22812"/>
          <a:stretch/>
        </p:blipFill>
        <p:spPr>
          <a:xfrm>
            <a:off x="6815720" y="4069218"/>
            <a:ext cx="995156" cy="405838"/>
          </a:xfrm>
          <a:prstGeom prst="rect">
            <a:avLst/>
          </a:prstGeom>
        </p:spPr>
      </p:pic>
      <p:sp>
        <p:nvSpPr>
          <p:cNvPr id="63" name="Rectangle: Rounded Corners 62">
            <a:extLst>
              <a:ext uri="{FF2B5EF4-FFF2-40B4-BE49-F238E27FC236}">
                <a16:creationId xmlns:a16="http://schemas.microsoft.com/office/drawing/2014/main" id="{78951068-120B-A572-4551-6644AC7EF545}"/>
              </a:ext>
            </a:extLst>
          </p:cNvPr>
          <p:cNvSpPr>
            <a:spLocks/>
          </p:cNvSpPr>
          <p:nvPr/>
        </p:nvSpPr>
        <p:spPr>
          <a:xfrm>
            <a:off x="632466" y="5676303"/>
            <a:ext cx="10924242" cy="691898"/>
          </a:xfrm>
          <a:prstGeom prst="roundRect">
            <a:avLst>
              <a:gd name="adj" fmla="val 8579"/>
            </a:avLst>
          </a:prstGeom>
          <a:solidFill>
            <a:srgbClr val="F7F7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defTabSz="761701">
              <a:defRPr/>
            </a:pPr>
            <a:r>
              <a:rPr lang="it-IT" sz="1200" dirty="0">
                <a:solidFill>
                  <a:srgbClr val="000000"/>
                </a:solidFill>
                <a:latin typeface="Segoe Sans Text Semibold" pitchFamily="2" charset="0"/>
                <a:cs typeface="Segoe Sans Text Semibold" pitchFamily="2" charset="0"/>
              </a:rPr>
              <a:t>Con un crescente marketplace di agenti e connettori di Microsoft 365 Copilot, che </a:t>
            </a:r>
            <a:r>
              <a:rPr lang="it-IT" sz="1200" dirty="0">
                <a:solidFill>
                  <a:srgbClr val="0078D4"/>
                </a:solidFill>
                <a:latin typeface="Segoe Sans Text Semibold" pitchFamily="2" charset="0"/>
                <a:cs typeface="Segoe Sans Text Semibold" pitchFamily="2" charset="0"/>
              </a:rPr>
              <a:t>coprono diverse funzioni aziendali e settori</a:t>
            </a:r>
            <a:r>
              <a:rPr lang="it-IT" sz="1200" dirty="0">
                <a:solidFill>
                  <a:srgbClr val="000000"/>
                </a:solidFill>
                <a:latin typeface="Segoe Sans Text Semibold" pitchFamily="2" charset="0"/>
                <a:cs typeface="Segoe Sans Text Semibold" pitchFamily="2" charset="0"/>
              </a:rPr>
              <a:t>, è possibile integrare facilmente app e strumenti di terze parti direttamente in Microsoft 365 Copilot.</a:t>
            </a:r>
            <a:endParaRPr lang="en-US" sz="1200" dirty="0">
              <a:solidFill>
                <a:srgbClr val="000000"/>
              </a:solidFill>
              <a:latin typeface="Segoe Sans Text Semibold" pitchFamily="2" charset="0"/>
              <a:cs typeface="Segoe Sans Text Semibold" pitchFamily="2" charset="0"/>
            </a:endParaRPr>
          </a:p>
        </p:txBody>
      </p:sp>
      <p:pic>
        <p:nvPicPr>
          <p:cNvPr id="65" name="Picture 64" descr="A black background with red letters">
            <a:extLst>
              <a:ext uri="{FF2B5EF4-FFF2-40B4-BE49-F238E27FC236}">
                <a16:creationId xmlns:a16="http://schemas.microsoft.com/office/drawing/2014/main" id="{9D0FA1F2-DCBC-A677-F42F-42F6A547720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550816" y="3404688"/>
            <a:ext cx="838544" cy="300478"/>
          </a:xfrm>
          <a:prstGeom prst="rect">
            <a:avLst/>
          </a:prstGeom>
        </p:spPr>
      </p:pic>
      <p:pic>
        <p:nvPicPr>
          <p:cNvPr id="66" name="Picture 65" descr="A logo with black text and orange dots&#10;&#10;Description automatically generated">
            <a:extLst>
              <a:ext uri="{FF2B5EF4-FFF2-40B4-BE49-F238E27FC236}">
                <a16:creationId xmlns:a16="http://schemas.microsoft.com/office/drawing/2014/main" id="{F6BFB0E8-F5EC-2132-3017-ADFE14EF300B}"/>
              </a:ext>
            </a:extLst>
          </p:cNvPr>
          <p:cNvPicPr>
            <a:picLocks/>
          </p:cNvPicPr>
          <p:nvPr/>
        </p:nvPicPr>
        <p:blipFill rotWithShape="1">
          <a:blip r:embed="rId20"/>
          <a:srcRect l="7792" t="17259" r="7792" b="17259"/>
          <a:stretch/>
        </p:blipFill>
        <p:spPr>
          <a:xfrm>
            <a:off x="9329420" y="4845048"/>
            <a:ext cx="843476" cy="288600"/>
          </a:xfrm>
          <a:prstGeom prst="rect">
            <a:avLst/>
          </a:prstGeom>
        </p:spPr>
      </p:pic>
      <p:pic>
        <p:nvPicPr>
          <p:cNvPr id="67" name="Picture 4" descr="Zoho Desk logo landscape transparent PNG - StickPNG">
            <a:extLst>
              <a:ext uri="{FF2B5EF4-FFF2-40B4-BE49-F238E27FC236}">
                <a16:creationId xmlns:a16="http://schemas.microsoft.com/office/drawing/2014/main" id="{38364A68-238B-85F6-EFC0-8C86D629A9AA}"/>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9321" t="28753" r="9321" b="29859"/>
          <a:stretch/>
        </p:blipFill>
        <p:spPr bwMode="auto">
          <a:xfrm>
            <a:off x="3169151" y="4803662"/>
            <a:ext cx="974718" cy="371372"/>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descr="A black and grey logo">
            <a:extLst>
              <a:ext uri="{FF2B5EF4-FFF2-40B4-BE49-F238E27FC236}">
                <a16:creationId xmlns:a16="http://schemas.microsoft.com/office/drawing/2014/main" id="{065F7A36-46BB-60B1-A85E-64D6B293F149}"/>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091488" y="3423428"/>
            <a:ext cx="881482" cy="262998"/>
          </a:xfrm>
          <a:prstGeom prst="rect">
            <a:avLst/>
          </a:prstGeom>
        </p:spPr>
      </p:pic>
      <p:pic>
        <p:nvPicPr>
          <p:cNvPr id="69" name="Picture 10" descr="The Employee Benefits &amp; Engagement Platform - Vantage Circle">
            <a:extLst>
              <a:ext uri="{FF2B5EF4-FFF2-40B4-BE49-F238E27FC236}">
                <a16:creationId xmlns:a16="http://schemas.microsoft.com/office/drawing/2014/main" id="{1F59DBD0-9AF7-B053-E029-B475C2E50DB0}"/>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r="5487"/>
          <a:stretch/>
        </p:blipFill>
        <p:spPr bwMode="auto">
          <a:xfrm>
            <a:off x="8032853" y="4813226"/>
            <a:ext cx="998752" cy="352244"/>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69" descr="A blue and black logo">
            <a:extLst>
              <a:ext uri="{FF2B5EF4-FFF2-40B4-BE49-F238E27FC236}">
                <a16:creationId xmlns:a16="http://schemas.microsoft.com/office/drawing/2014/main" id="{251A68D4-C011-2451-6C9C-D2A9F7C9D58E}"/>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871977" y="4853126"/>
            <a:ext cx="882642" cy="272444"/>
          </a:xfrm>
          <a:prstGeom prst="rect">
            <a:avLst/>
          </a:prstGeom>
        </p:spPr>
      </p:pic>
      <p:sp>
        <p:nvSpPr>
          <p:cNvPr id="71" name="!!EVERY EMPLOYEE">
            <a:extLst>
              <a:ext uri="{FF2B5EF4-FFF2-40B4-BE49-F238E27FC236}">
                <a16:creationId xmlns:a16="http://schemas.microsoft.com/office/drawing/2014/main" id="{6CA1ECBE-8B86-06C7-A33E-985E0ABE2ADA}"/>
              </a:ext>
              <a:ext uri="{C183D7F6-B498-43B3-948B-1728B52AA6E4}">
                <adec:decorative xmlns:adec="http://schemas.microsoft.com/office/drawing/2017/decorative" val="0"/>
              </a:ext>
            </a:extLst>
          </p:cNvPr>
          <p:cNvSpPr/>
          <p:nvPr/>
        </p:nvSpPr>
        <p:spPr bwMode="auto">
          <a:xfrm>
            <a:off x="1286427" y="2785372"/>
            <a:ext cx="1082536" cy="163145"/>
          </a:xfrm>
          <a:prstGeom prst="rect">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w="3175">
                  <a:noFill/>
                </a:ln>
                <a:solidFill>
                  <a:srgbClr val="29446F"/>
                </a:solidFill>
                <a:effectLst/>
                <a:uLnTx/>
                <a:uFillTx/>
                <a:latin typeface="Segoe Sans Display"/>
                <a:ea typeface="+mn-ea"/>
                <a:cs typeface="+mn-cs"/>
              </a:rPr>
              <a:t>Every Employee</a:t>
            </a:r>
          </a:p>
        </p:txBody>
      </p:sp>
      <p:pic>
        <p:nvPicPr>
          <p:cNvPr id="72" name="Picture 2" descr="Recon Research - Moveworks Integrates with Microsoft Teams to Transform ...">
            <a:extLst>
              <a:ext uri="{FF2B5EF4-FFF2-40B4-BE49-F238E27FC236}">
                <a16:creationId xmlns:a16="http://schemas.microsoft.com/office/drawing/2014/main" id="{1B181EE7-B2BB-7AC1-2644-266FC3EB93DA}"/>
              </a:ext>
            </a:extLst>
          </p:cNvPr>
          <p:cNvPicPr>
            <a:picLocks noChangeArrowheads="1"/>
          </p:cNvPicPr>
          <p:nvPr/>
        </p:nvPicPr>
        <p:blipFill rotWithShape="1">
          <a:blip r:embed="rId25">
            <a:extLst>
              <a:ext uri="{28A0092B-C50C-407E-A947-70E740481C1C}">
                <a14:useLocalDpi xmlns:a14="http://schemas.microsoft.com/office/drawing/2010/main" val="0"/>
              </a:ext>
            </a:extLst>
          </a:blip>
          <a:srcRect l="8637" t="27957" r="8637" b="27957"/>
          <a:stretch/>
        </p:blipFill>
        <p:spPr bwMode="auto">
          <a:xfrm>
            <a:off x="10467031" y="4138098"/>
            <a:ext cx="1006114" cy="268078"/>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descr="Bigtincan Unveils Analytics Experience and Delivers Enhancements to  Award-Winning Sales Enablement Platform">
            <a:extLst>
              <a:ext uri="{FF2B5EF4-FFF2-40B4-BE49-F238E27FC236}">
                <a16:creationId xmlns:a16="http://schemas.microsoft.com/office/drawing/2014/main" id="{2FFF459C-F49A-FA8B-0DFD-D67437D30DAC}"/>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t="22302" b="22302"/>
          <a:stretch/>
        </p:blipFill>
        <p:spPr bwMode="auto">
          <a:xfrm>
            <a:off x="4410970" y="4137054"/>
            <a:ext cx="928940" cy="270167"/>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4" descr="DocuSign logo in transparent PNG and vectorized SVG formats">
            <a:extLst>
              <a:ext uri="{FF2B5EF4-FFF2-40B4-BE49-F238E27FC236}">
                <a16:creationId xmlns:a16="http://schemas.microsoft.com/office/drawing/2014/main" id="{76C8A492-EC04-405C-B38B-53C8908D078F}"/>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766676" y="3460289"/>
            <a:ext cx="937224" cy="189276"/>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descr="A black background with a black square&#10;&#10;Description automatically generated with medium confidence">
            <a:extLst>
              <a:ext uri="{FF2B5EF4-FFF2-40B4-BE49-F238E27FC236}">
                <a16:creationId xmlns:a16="http://schemas.microsoft.com/office/drawing/2014/main" id="{778AE0F2-AACE-BEDA-6473-CA54D0713428}"/>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376352" y="4825325"/>
            <a:ext cx="1187471" cy="328046"/>
          </a:xfrm>
          <a:prstGeom prst="rect">
            <a:avLst/>
          </a:prstGeom>
        </p:spPr>
      </p:pic>
      <p:pic>
        <p:nvPicPr>
          <p:cNvPr id="76" name="Picture 75" descr="A black and orange logo&#10;&#10;Description automatically generated">
            <a:extLst>
              <a:ext uri="{FF2B5EF4-FFF2-40B4-BE49-F238E27FC236}">
                <a16:creationId xmlns:a16="http://schemas.microsoft.com/office/drawing/2014/main" id="{56445A2B-6D95-DD29-7A7A-1E2D171A7FC5}"/>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2097335" y="4876784"/>
            <a:ext cx="628827" cy="225129"/>
          </a:xfrm>
          <a:prstGeom prst="rect">
            <a:avLst/>
          </a:prstGeom>
        </p:spPr>
      </p:pic>
      <p:pic>
        <p:nvPicPr>
          <p:cNvPr id="77" name="!!Picture 31">
            <a:extLst>
              <a:ext uri="{FF2B5EF4-FFF2-40B4-BE49-F238E27FC236}">
                <a16:creationId xmlns:a16="http://schemas.microsoft.com/office/drawing/2014/main" id="{F74ED95F-5CF1-FF3F-3631-384DD21E03BF}"/>
              </a:ext>
              <a:ext uri="{C183D7F6-B498-43B3-948B-1728B52AA6E4}">
                <adec:decorative xmlns:adec="http://schemas.microsoft.com/office/drawing/2017/decorative" val="1"/>
              </a:ext>
            </a:extLst>
          </p:cNvPr>
          <p:cNvPicPr>
            <a:picLocks/>
          </p:cNvPicPr>
          <p:nvPr/>
        </p:nvPicPr>
        <p:blipFill rotWithShape="1">
          <a:blip r:embed="rId30">
            <a:extLst>
              <a:ext uri="{28A0092B-C50C-407E-A947-70E740481C1C}">
                <a14:useLocalDpi xmlns:a14="http://schemas.microsoft.com/office/drawing/2010/main" val="0"/>
              </a:ext>
            </a:extLst>
          </a:blip>
          <a:srcRect l="7859" r="7859"/>
          <a:stretch/>
        </p:blipFill>
        <p:spPr>
          <a:xfrm>
            <a:off x="4334171" y="1659259"/>
            <a:ext cx="1082536" cy="1044190"/>
          </a:xfrm>
          <a:prstGeom prst="roundRect">
            <a:avLst>
              <a:gd name="adj" fmla="val 2800"/>
            </a:avLst>
          </a:prstGeom>
          <a:noFill/>
          <a:ln w="9525" cap="flat">
            <a:noFill/>
            <a:prstDash val="solid"/>
            <a:miter/>
          </a:ln>
          <a:effectLst/>
        </p:spPr>
      </p:pic>
      <p:pic>
        <p:nvPicPr>
          <p:cNvPr id="78" name="!!2123123" descr="Jira Logo and symbol, meaning, history, PNG">
            <a:extLst>
              <a:ext uri="{FF2B5EF4-FFF2-40B4-BE49-F238E27FC236}">
                <a16:creationId xmlns:a16="http://schemas.microsoft.com/office/drawing/2014/main" id="{7DF9D857-96B2-5356-29FE-09841FCAB376}"/>
              </a:ext>
            </a:extLst>
          </p:cNvPr>
          <p:cNvPicPr>
            <a:picLocks noChangeArrowheads="1"/>
          </p:cNvPicPr>
          <p:nvPr/>
        </p:nvPicPr>
        <p:blipFill rotWithShape="1">
          <a:blip r:embed="rId31">
            <a:extLst>
              <a:ext uri="{28A0092B-C50C-407E-A947-70E740481C1C}">
                <a14:useLocalDpi xmlns:a14="http://schemas.microsoft.com/office/drawing/2010/main" val="0"/>
              </a:ext>
            </a:extLst>
          </a:blip>
          <a:srcRect t="19490" b="32793"/>
          <a:stretch/>
        </p:blipFill>
        <p:spPr bwMode="auto">
          <a:xfrm>
            <a:off x="2099001" y="3454878"/>
            <a:ext cx="625494" cy="200098"/>
          </a:xfrm>
          <a:prstGeom prst="rect">
            <a:avLst/>
          </a:prstGeom>
          <a:noFill/>
          <a:extLst>
            <a:ext uri="{909E8E84-426E-40DD-AFC4-6F175D3DCCD1}">
              <a14:hiddenFill xmlns:a14="http://schemas.microsoft.com/office/drawing/2010/main">
                <a:solidFill>
                  <a:srgbClr val="FFFFFF"/>
                </a:solidFill>
              </a14:hiddenFill>
            </a:ext>
          </a:extLst>
        </p:spPr>
      </p:pic>
      <p:pic>
        <p:nvPicPr>
          <p:cNvPr id="79" name="!!&gt;&gt;&gt;&lt;&gt;&lt;:&quot;:">
            <a:extLst>
              <a:ext uri="{FF2B5EF4-FFF2-40B4-BE49-F238E27FC236}">
                <a16:creationId xmlns:a16="http://schemas.microsoft.com/office/drawing/2014/main" id="{15D3C119-9ECD-8A49-1A6A-9D5569470D58}"/>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tretch/>
        </p:blipFill>
        <p:spPr bwMode="auto">
          <a:xfrm>
            <a:off x="5840510" y="4863906"/>
            <a:ext cx="507718" cy="250884"/>
          </a:xfrm>
          <a:prstGeom prst="rect">
            <a:avLst/>
          </a:prstGeom>
          <a:noFill/>
          <a:extLst>
            <a:ext uri="{909E8E84-426E-40DD-AFC4-6F175D3DCCD1}">
              <a14:hiddenFill xmlns:a14="http://schemas.microsoft.com/office/drawing/2010/main">
                <a:solidFill>
                  <a:srgbClr val="FFFFFF"/>
                </a:solidFill>
              </a14:hiddenFill>
            </a:ext>
          </a:extLst>
        </p:spPr>
      </p:pic>
      <p:pic>
        <p:nvPicPr>
          <p:cNvPr id="80" name="!!|||||||||||||" descr="Adobe Logo In Transparent Png And Vectorized Svg Form - vrogue.co">
            <a:extLst>
              <a:ext uri="{FF2B5EF4-FFF2-40B4-BE49-F238E27FC236}">
                <a16:creationId xmlns:a16="http://schemas.microsoft.com/office/drawing/2014/main" id="{236A8EA3-A3B1-F5C1-773B-C3786B6AF475}"/>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tretch/>
        </p:blipFill>
        <p:spPr bwMode="auto">
          <a:xfrm>
            <a:off x="7131007" y="3346355"/>
            <a:ext cx="364584" cy="417144"/>
          </a:xfrm>
          <a:prstGeom prst="rect">
            <a:avLst/>
          </a:prstGeom>
          <a:noFill/>
          <a:extLst>
            <a:ext uri="{909E8E84-426E-40DD-AFC4-6F175D3DCCD1}">
              <a14:hiddenFill xmlns:a14="http://schemas.microsoft.com/office/drawing/2010/main">
                <a:solidFill>
                  <a:srgbClr val="FFFFFF"/>
                </a:solidFill>
              </a14:hiddenFill>
            </a:ext>
          </a:extLst>
        </p:spPr>
      </p:pic>
      <p:pic>
        <p:nvPicPr>
          <p:cNvPr id="81" name="!!ksdlkasjdaks;djas" descr="Copilot for Sales - Conversation intelligence dashboard">
            <a:extLst>
              <a:ext uri="{FF2B5EF4-FFF2-40B4-BE49-F238E27FC236}">
                <a16:creationId xmlns:a16="http://schemas.microsoft.com/office/drawing/2014/main" id="{468C8869-517D-4001-E192-21944553301A}"/>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691290" y="3370777"/>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82" name="!!MNMNMNMNMN">
            <a:extLst>
              <a:ext uri="{FF2B5EF4-FFF2-40B4-BE49-F238E27FC236}">
                <a16:creationId xmlns:a16="http://schemas.microsoft.com/office/drawing/2014/main" id="{9557783F-6561-03EE-FD18-A89013998177}"/>
              </a:ext>
              <a:ext uri="{C183D7F6-B498-43B3-948B-1728B52AA6E4}">
                <adec:decorative xmlns:adec="http://schemas.microsoft.com/office/drawing/2017/decorative" val="1"/>
              </a:ext>
            </a:extLst>
          </p:cNvPr>
          <p:cNvPicPr>
            <a:picLocks/>
          </p:cNvPicPr>
          <p:nvPr/>
        </p:nvPicPr>
        <p:blipFill>
          <a:blip r:embed="rId35" cstate="hqprint">
            <a:extLst>
              <a:ext uri="{28A0092B-C50C-407E-A947-70E740481C1C}">
                <a14:useLocalDpi xmlns:a14="http://schemas.microsoft.com/office/drawing/2010/main"/>
              </a:ext>
            </a:extLst>
          </a:blip>
          <a:stretch>
            <a:fillRect/>
          </a:stretch>
        </p:blipFill>
        <p:spPr>
          <a:xfrm>
            <a:off x="3464739" y="3350637"/>
            <a:ext cx="383541" cy="408580"/>
          </a:xfrm>
          <a:prstGeom prst="rect">
            <a:avLst/>
          </a:prstGeom>
        </p:spPr>
      </p:pic>
      <p:pic>
        <p:nvPicPr>
          <p:cNvPr id="83" name="!!weasdasdawew" descr="Overcoming pain points with drafting - Lawyers Weekly">
            <a:extLst>
              <a:ext uri="{FF2B5EF4-FFF2-40B4-BE49-F238E27FC236}">
                <a16:creationId xmlns:a16="http://schemas.microsoft.com/office/drawing/2014/main" id="{5727DA77-667F-8769-2D6C-5759C266CB2E}"/>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l="3747" t="20384" r="57390" b="20384"/>
          <a:stretch/>
        </p:blipFill>
        <p:spPr bwMode="auto">
          <a:xfrm>
            <a:off x="9371284" y="4161637"/>
            <a:ext cx="759748" cy="221000"/>
          </a:xfrm>
          <a:prstGeom prst="rect">
            <a:avLst/>
          </a:prstGeom>
          <a:noFill/>
          <a:extLst>
            <a:ext uri="{909E8E84-426E-40DD-AFC4-6F175D3DCCD1}">
              <a14:hiddenFill xmlns:a14="http://schemas.microsoft.com/office/drawing/2010/main">
                <a:solidFill>
                  <a:srgbClr val="FFFFFF"/>
                </a:solidFill>
              </a14:hiddenFill>
            </a:ext>
          </a:extLst>
        </p:spPr>
      </p:pic>
      <p:pic>
        <p:nvPicPr>
          <p:cNvPr id="84" name="!![]][][][][][]]" descr="Copilot for Finance for Microsoft Outlook (Preview)">
            <a:extLst>
              <a:ext uri="{FF2B5EF4-FFF2-40B4-BE49-F238E27FC236}">
                <a16:creationId xmlns:a16="http://schemas.microsoft.com/office/drawing/2014/main" id="{F889C853-6D6B-9CBE-2533-101572D110B8}"/>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5938065" y="3398623"/>
            <a:ext cx="312608" cy="31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747759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7FFB4-5E5E-6FD4-0325-00844C72F9B5}"/>
            </a:ext>
          </a:extLst>
        </p:cNvPr>
        <p:cNvGrpSpPr/>
        <p:nvPr/>
      </p:nvGrpSpPr>
      <p:grpSpPr>
        <a:xfrm>
          <a:off x="0" y="0"/>
          <a:ext cx="0" cy="0"/>
          <a:chOff x="0" y="0"/>
          <a:chExt cx="0" cy="0"/>
        </a:xfrm>
      </p:grpSpPr>
      <p:grpSp>
        <p:nvGrpSpPr>
          <p:cNvPr id="74" name="Group 73">
            <a:extLst>
              <a:ext uri="{FF2B5EF4-FFF2-40B4-BE49-F238E27FC236}">
                <a16:creationId xmlns:a16="http://schemas.microsoft.com/office/drawing/2014/main" id="{E6F626B5-A006-3E9A-7ED4-ADAA16D1F16C}"/>
              </a:ext>
              <a:ext uri="{C183D7F6-B498-43B3-948B-1728B52AA6E4}">
                <adec:decorative xmlns:adec="http://schemas.microsoft.com/office/drawing/2017/decorative" val="1"/>
              </a:ext>
            </a:extLst>
          </p:cNvPr>
          <p:cNvGrpSpPr/>
          <p:nvPr/>
        </p:nvGrpSpPr>
        <p:grpSpPr>
          <a:xfrm flipV="1">
            <a:off x="0" y="5567747"/>
            <a:ext cx="12192000" cy="1309115"/>
            <a:chOff x="0" y="0"/>
            <a:chExt cx="12192000" cy="1309115"/>
          </a:xfrm>
        </p:grpSpPr>
        <p:sp>
          <p:nvSpPr>
            <p:cNvPr id="75" name="Rectangle 74">
              <a:extLst>
                <a:ext uri="{FF2B5EF4-FFF2-40B4-BE49-F238E27FC236}">
                  <a16:creationId xmlns:a16="http://schemas.microsoft.com/office/drawing/2014/main" id="{39120472-8E02-8315-7C52-35E20AC66BC4}"/>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Text"/>
                <a:ea typeface="+mn-ea"/>
                <a:cs typeface="+mn-cs"/>
              </a:endParaRPr>
            </a:p>
          </p:txBody>
        </p:sp>
        <p:sp>
          <p:nvSpPr>
            <p:cNvPr id="76" name="Rectangle 75">
              <a:extLst>
                <a:ext uri="{FF2B5EF4-FFF2-40B4-BE49-F238E27FC236}">
                  <a16:creationId xmlns:a16="http://schemas.microsoft.com/office/drawing/2014/main" id="{120D0392-F1A5-186F-D7BA-2C9DA45E93CD}"/>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Text"/>
                <a:ea typeface="+mn-ea"/>
                <a:cs typeface="+mn-cs"/>
              </a:endParaRPr>
            </a:p>
          </p:txBody>
        </p:sp>
      </p:grpSp>
      <p:sp>
        <p:nvSpPr>
          <p:cNvPr id="51" name="TextBox 50">
            <a:extLst>
              <a:ext uri="{FF2B5EF4-FFF2-40B4-BE49-F238E27FC236}">
                <a16:creationId xmlns:a16="http://schemas.microsoft.com/office/drawing/2014/main" id="{96B4E0FB-EDDE-B9DF-61E5-604E966A5813}"/>
              </a:ext>
            </a:extLst>
          </p:cNvPr>
          <p:cNvSpPr txBox="1"/>
          <p:nvPr/>
        </p:nvSpPr>
        <p:spPr>
          <a:xfrm>
            <a:off x="622277" y="4332410"/>
            <a:ext cx="10909694" cy="971042"/>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50C91F9B-4370-EA46-DA85-493B96810FB4}"/>
              </a:ext>
            </a:extLst>
          </p:cNvPr>
          <p:cNvSpPr>
            <a:spLocks noGrp="1"/>
          </p:cNvSpPr>
          <p:nvPr>
            <p:ph type="title"/>
          </p:nvPr>
        </p:nvSpPr>
        <p:spPr>
          <a:xfrm>
            <a:off x="650629" y="228094"/>
            <a:ext cx="10046100" cy="553998"/>
          </a:xfrm>
        </p:spPr>
        <p:txBody>
          <a:bodyPr/>
          <a:lstStyle/>
          <a:p>
            <a:r>
              <a:rPr lang="it-it" dirty="0"/>
              <a:t>Adozione degli agenti: procedure consigliate </a:t>
            </a:r>
          </a:p>
        </p:txBody>
      </p:sp>
      <p:grpSp>
        <p:nvGrpSpPr>
          <p:cNvPr id="28" name="Group 27">
            <a:extLst>
              <a:ext uri="{FF2B5EF4-FFF2-40B4-BE49-F238E27FC236}">
                <a16:creationId xmlns:a16="http://schemas.microsoft.com/office/drawing/2014/main" id="{66D84401-7793-2EC4-7209-27C25BE9A7FE}"/>
              </a:ext>
            </a:extLst>
          </p:cNvPr>
          <p:cNvGrpSpPr/>
          <p:nvPr/>
        </p:nvGrpSpPr>
        <p:grpSpPr>
          <a:xfrm>
            <a:off x="622276" y="1603874"/>
            <a:ext cx="2584761" cy="2555680"/>
            <a:chOff x="2020888" y="1800443"/>
            <a:chExt cx="4658586" cy="3283832"/>
          </a:xfrm>
        </p:grpSpPr>
        <p:sp>
          <p:nvSpPr>
            <p:cNvPr id="29" name="Rectangle: Rounded Corners 28">
              <a:extLst>
                <a:ext uri="{FF2B5EF4-FFF2-40B4-BE49-F238E27FC236}">
                  <a16:creationId xmlns:a16="http://schemas.microsoft.com/office/drawing/2014/main" id="{2AE368F1-6749-2E65-F52E-8410F49DFC89}"/>
                </a:ext>
              </a:extLst>
            </p:cNvPr>
            <p:cNvSpPr/>
            <p:nvPr/>
          </p:nvSpPr>
          <p:spPr bwMode="auto">
            <a:xfrm>
              <a:off x="2020888" y="1800443"/>
              <a:ext cx="4658586" cy="3283832"/>
            </a:xfrm>
            <a:prstGeom prst="roundRect">
              <a:avLst>
                <a:gd name="adj" fmla="val 4879"/>
              </a:avLst>
            </a:prstGeom>
            <a:solidFill>
              <a:srgbClr val="FFFFFF">
                <a:alpha val="85000"/>
              </a:srgbClr>
            </a:solidFill>
            <a:ln w="19050">
              <a:solidFill>
                <a:srgbClr val="7030A0"/>
              </a:solidFill>
              <a:headEnd type="none" w="med" len="med"/>
              <a:tailEnd type="none" w="med" len="med"/>
            </a:ln>
            <a:effectLst>
              <a:outerShdw blurRad="1270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Sans Display"/>
                <a:ea typeface="+mn-ea"/>
                <a:cs typeface="Segoe UI" pitchFamily="34" charset="0"/>
              </a:endParaRPr>
            </a:p>
          </p:txBody>
        </p:sp>
        <p:sp>
          <p:nvSpPr>
            <p:cNvPr id="30" name="TextBox 29">
              <a:extLst>
                <a:ext uri="{FF2B5EF4-FFF2-40B4-BE49-F238E27FC236}">
                  <a16:creationId xmlns:a16="http://schemas.microsoft.com/office/drawing/2014/main" id="{71905395-0524-BAB3-2F26-D23B79C5D517}"/>
                </a:ext>
              </a:extLst>
            </p:cNvPr>
            <p:cNvSpPr txBox="1"/>
            <p:nvPr/>
          </p:nvSpPr>
          <p:spPr>
            <a:xfrm>
              <a:off x="2768657" y="2024650"/>
              <a:ext cx="3852609" cy="35641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Segoe Sans Display Semibold"/>
                  <a:ea typeface="+mn-ea"/>
                  <a:cs typeface="Segoe Sans Display Semibold"/>
                </a:rPr>
                <a:t>Attivazione dei champion</a:t>
              </a:r>
              <a:endParaRPr kumimoji="0" lang="en-US" sz="1200" b="0" i="0" u="none" strike="noStrike" kern="1200" cap="none" spc="0" normalizeH="0" baseline="0" noProof="0" dirty="0">
                <a:ln>
                  <a:noFill/>
                </a:ln>
                <a:solidFill>
                  <a:prstClr val="black"/>
                </a:solidFill>
                <a:effectLst/>
                <a:uLnTx/>
                <a:uFillTx/>
                <a:latin typeface="Segoe Sans Display"/>
                <a:ea typeface="+mn-ea"/>
                <a:cs typeface="Segoe Sans Display"/>
              </a:endParaRPr>
            </a:p>
          </p:txBody>
        </p:sp>
      </p:grpSp>
      <p:grpSp>
        <p:nvGrpSpPr>
          <p:cNvPr id="69" name="Group 68">
            <a:extLst>
              <a:ext uri="{FF2B5EF4-FFF2-40B4-BE49-F238E27FC236}">
                <a16:creationId xmlns:a16="http://schemas.microsoft.com/office/drawing/2014/main" id="{B740C304-9B31-EBE0-7AFD-A3718D97A281}"/>
              </a:ext>
            </a:extLst>
          </p:cNvPr>
          <p:cNvGrpSpPr/>
          <p:nvPr/>
        </p:nvGrpSpPr>
        <p:grpSpPr>
          <a:xfrm>
            <a:off x="6184910" y="1590518"/>
            <a:ext cx="2592000" cy="2562285"/>
            <a:chOff x="2020888" y="1800444"/>
            <a:chExt cx="4658586" cy="3243077"/>
          </a:xfrm>
        </p:grpSpPr>
        <p:sp>
          <p:nvSpPr>
            <p:cNvPr id="70" name="Rectangle: Rounded Corners 69">
              <a:extLst>
                <a:ext uri="{FF2B5EF4-FFF2-40B4-BE49-F238E27FC236}">
                  <a16:creationId xmlns:a16="http://schemas.microsoft.com/office/drawing/2014/main" id="{A554AAAC-EAD1-E5B6-BB02-59452A8DBE43}"/>
                </a:ext>
              </a:extLst>
            </p:cNvPr>
            <p:cNvSpPr/>
            <p:nvPr/>
          </p:nvSpPr>
          <p:spPr bwMode="auto">
            <a:xfrm>
              <a:off x="2020888" y="1800444"/>
              <a:ext cx="4658586" cy="3243077"/>
            </a:xfrm>
            <a:prstGeom prst="roundRect">
              <a:avLst>
                <a:gd name="adj" fmla="val 4879"/>
              </a:avLst>
            </a:prstGeom>
            <a:solidFill>
              <a:srgbClr val="FFFFFF">
                <a:alpha val="85000"/>
              </a:srgbClr>
            </a:solidFill>
            <a:ln w="19050">
              <a:solidFill>
                <a:srgbClr val="7030A0"/>
              </a:solidFill>
              <a:headEnd type="none" w="med" len="med"/>
              <a:tailEnd type="none" w="med" len="med"/>
            </a:ln>
            <a:effectLst>
              <a:outerShdw blurRad="1270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Sans Display"/>
                <a:ea typeface="+mn-ea"/>
                <a:cs typeface="Segoe UI" pitchFamily="34" charset="0"/>
              </a:endParaRPr>
            </a:p>
          </p:txBody>
        </p:sp>
        <p:sp>
          <p:nvSpPr>
            <p:cNvPr id="71" name="TextBox 70">
              <a:extLst>
                <a:ext uri="{FF2B5EF4-FFF2-40B4-BE49-F238E27FC236}">
                  <a16:creationId xmlns:a16="http://schemas.microsoft.com/office/drawing/2014/main" id="{B5E2FB4B-9CE2-F0C5-6151-F156491191BA}"/>
                </a:ext>
              </a:extLst>
            </p:cNvPr>
            <p:cNvSpPr txBox="1"/>
            <p:nvPr/>
          </p:nvSpPr>
          <p:spPr>
            <a:xfrm>
              <a:off x="2662702" y="1931382"/>
              <a:ext cx="3795520" cy="351084"/>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Segoe Sans Display Semibold"/>
                  <a:ea typeface="+mn-ea"/>
                  <a:cs typeface="Segoe Sans Display Semibold"/>
                </a:rPr>
                <a:t>Organizzazione di eventi</a:t>
              </a:r>
              <a:endParaRPr kumimoji="0" lang="en-US" sz="1200" b="0" i="0" u="none" strike="noStrike" kern="1200" cap="none" spc="0" normalizeH="0" baseline="0" noProof="0" dirty="0">
                <a:ln>
                  <a:noFill/>
                </a:ln>
                <a:solidFill>
                  <a:prstClr val="black"/>
                </a:solidFill>
                <a:effectLst/>
                <a:uLnTx/>
                <a:uFillTx/>
                <a:latin typeface="Segoe Sans Display"/>
                <a:ea typeface="+mn-ea"/>
                <a:cs typeface="Segoe Sans Display"/>
              </a:endParaRPr>
            </a:p>
          </p:txBody>
        </p:sp>
        <p:sp>
          <p:nvSpPr>
            <p:cNvPr id="72" name="TextBox 71">
              <a:extLst>
                <a:ext uri="{FF2B5EF4-FFF2-40B4-BE49-F238E27FC236}">
                  <a16:creationId xmlns:a16="http://schemas.microsoft.com/office/drawing/2014/main" id="{480FA6EA-87F6-9767-70A6-8D2BAE477A76}"/>
                </a:ext>
              </a:extLst>
            </p:cNvPr>
            <p:cNvSpPr txBox="1"/>
            <p:nvPr/>
          </p:nvSpPr>
          <p:spPr>
            <a:xfrm>
              <a:off x="2280856" y="4183304"/>
              <a:ext cx="4295180" cy="555112"/>
            </a:xfrm>
            <a:prstGeom prst="rect">
              <a:avLst/>
            </a:prstGeom>
            <a:noFill/>
          </p:spPr>
          <p:txBody>
            <a:bodyPr wrap="square" lIns="91440" tIns="45720" rIns="91440" bIns="45720" anchor="t">
              <a:spAutoFit/>
            </a:bodyPr>
            <a:lstStyle/>
            <a:p>
              <a:pPr marL="171450" marR="0" lvl="1"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000" b="0" i="0" u="none" strike="noStrike" kern="1200" cap="none" spc="0" normalizeH="0" baseline="0" noProof="0" dirty="0">
                  <a:ln>
                    <a:noFill/>
                  </a:ln>
                  <a:solidFill>
                    <a:srgbClr val="000000"/>
                  </a:solidFill>
                  <a:effectLst/>
                  <a:uLnTx/>
                  <a:uFillTx/>
                  <a:latin typeface="Segoe UI"/>
                  <a:ea typeface="+mn-ea"/>
                  <a:cs typeface="Segoe UI"/>
                  <a:hlinkClick r:id="rId3"/>
                </a:rPr>
                <a:t>Customer Hub su richiesta</a:t>
              </a:r>
              <a:endParaRPr kumimoji="0" lang="en-US" sz="1000" b="0" i="0" u="none" strike="noStrike" kern="1200" cap="none" spc="0" normalizeH="0" baseline="0" noProof="0" dirty="0">
                <a:ln>
                  <a:noFill/>
                </a:ln>
                <a:solidFill>
                  <a:srgbClr val="000000"/>
                </a:solidFill>
                <a:effectLst/>
                <a:uLnTx/>
                <a:uFillTx/>
                <a:latin typeface="Segoe UI"/>
                <a:ea typeface="+mn-ea"/>
                <a:cs typeface="Segoe UI"/>
              </a:endParaRPr>
            </a:p>
            <a:p>
              <a:pPr marL="171450" lvl="1" indent="-171450" defTabSz="932742">
                <a:spcAft>
                  <a:spcPts val="300"/>
                </a:spcAft>
                <a:buFont typeface="Arial" panose="020B0604020202020204" pitchFamily="34" charset="0"/>
                <a:buChar char="•"/>
                <a:defRPr/>
              </a:pPr>
              <a:r>
                <a:rPr lang="it-IT" sz="1000" dirty="0">
                  <a:solidFill>
                    <a:srgbClr val="000000"/>
                  </a:solidFill>
                  <a:latin typeface="Segoe UI"/>
                  <a:cs typeface="Segoe UI"/>
                  <a:hlinkClick r:id="rId4"/>
                </a:rPr>
                <a:t>Agent-a-</a:t>
              </a:r>
              <a:r>
                <a:rPr lang="it-IT" sz="1000" dirty="0" err="1">
                  <a:solidFill>
                    <a:srgbClr val="000000"/>
                  </a:solidFill>
                  <a:latin typeface="Segoe UI"/>
                  <a:cs typeface="Segoe UI"/>
                  <a:hlinkClick r:id="rId4"/>
                </a:rPr>
                <a:t>thon</a:t>
              </a:r>
              <a:r>
                <a:rPr lang="it-IT" sz="1000" dirty="0">
                  <a:solidFill>
                    <a:srgbClr val="000000"/>
                  </a:solidFill>
                  <a:latin typeface="Segoe UI"/>
                  <a:cs typeface="Segoe UI"/>
                  <a:hlinkClick r:id="rId4"/>
                </a:rPr>
                <a:t> </a:t>
              </a:r>
              <a:endParaRPr lang="en-US" sz="1000" dirty="0">
                <a:solidFill>
                  <a:srgbClr val="000000"/>
                </a:solidFill>
                <a:latin typeface="Segoe UI"/>
                <a:cs typeface="Segoe UI"/>
              </a:endParaRPr>
            </a:p>
          </p:txBody>
        </p:sp>
      </p:grpSp>
      <p:grpSp>
        <p:nvGrpSpPr>
          <p:cNvPr id="7" name="Group 6">
            <a:extLst>
              <a:ext uri="{FF2B5EF4-FFF2-40B4-BE49-F238E27FC236}">
                <a16:creationId xmlns:a16="http://schemas.microsoft.com/office/drawing/2014/main" id="{ADE58FCC-E4E2-07D7-748E-2CD643CD7FEE}"/>
              </a:ext>
            </a:extLst>
          </p:cNvPr>
          <p:cNvGrpSpPr/>
          <p:nvPr/>
        </p:nvGrpSpPr>
        <p:grpSpPr>
          <a:xfrm>
            <a:off x="3422602" y="1595787"/>
            <a:ext cx="2592000" cy="2563767"/>
            <a:chOff x="2020888" y="1800443"/>
            <a:chExt cx="4658586" cy="3660271"/>
          </a:xfrm>
        </p:grpSpPr>
        <p:sp>
          <p:nvSpPr>
            <p:cNvPr id="8" name="Rectangle: Rounded Corners 7">
              <a:extLst>
                <a:ext uri="{FF2B5EF4-FFF2-40B4-BE49-F238E27FC236}">
                  <a16:creationId xmlns:a16="http://schemas.microsoft.com/office/drawing/2014/main" id="{ED5C4924-42AA-E48F-39CB-A400DC87622E}"/>
                </a:ext>
              </a:extLst>
            </p:cNvPr>
            <p:cNvSpPr/>
            <p:nvPr/>
          </p:nvSpPr>
          <p:spPr bwMode="auto">
            <a:xfrm>
              <a:off x="2020888" y="1800443"/>
              <a:ext cx="4658586" cy="3660271"/>
            </a:xfrm>
            <a:prstGeom prst="roundRect">
              <a:avLst>
                <a:gd name="adj" fmla="val 4879"/>
              </a:avLst>
            </a:prstGeom>
            <a:solidFill>
              <a:srgbClr val="FFFFFF">
                <a:alpha val="85000"/>
              </a:srgbClr>
            </a:solidFill>
            <a:ln w="19050">
              <a:solidFill>
                <a:srgbClr val="7030A0"/>
              </a:solidFill>
              <a:headEnd type="none" w="med" len="med"/>
              <a:tailEnd type="none" w="med" len="med"/>
            </a:ln>
            <a:effectLst>
              <a:outerShdw blurRad="1270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Sans Display"/>
                <a:ea typeface="+mn-ea"/>
                <a:cs typeface="Segoe UI" pitchFamily="34" charset="0"/>
              </a:endParaRPr>
            </a:p>
          </p:txBody>
        </p:sp>
        <p:sp>
          <p:nvSpPr>
            <p:cNvPr id="9" name="TextBox 8">
              <a:extLst>
                <a:ext uri="{FF2B5EF4-FFF2-40B4-BE49-F238E27FC236}">
                  <a16:creationId xmlns:a16="http://schemas.microsoft.com/office/drawing/2014/main" id="{F395EE61-AD2F-E199-538B-47E872D8E08A}"/>
                </a:ext>
              </a:extLst>
            </p:cNvPr>
            <p:cNvSpPr txBox="1"/>
            <p:nvPr/>
          </p:nvSpPr>
          <p:spPr>
            <a:xfrm>
              <a:off x="2807964" y="1988189"/>
              <a:ext cx="3535696" cy="396019"/>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Segoe Sans Display Semibold"/>
                  <a:ea typeface="+mn-ea"/>
                  <a:cs typeface="Segoe Sans Display Semibold"/>
                </a:rPr>
                <a:t>Promozione interna</a:t>
              </a:r>
              <a:endParaRPr kumimoji="0" lang="en-US" sz="1200" b="0" i="0" u="none" strike="noStrike" kern="1200" cap="none" spc="0" normalizeH="0" baseline="0" noProof="0" dirty="0">
                <a:ln>
                  <a:noFill/>
                </a:ln>
                <a:solidFill>
                  <a:prstClr val="black"/>
                </a:solidFill>
                <a:effectLst/>
                <a:uLnTx/>
                <a:uFillTx/>
                <a:latin typeface="Segoe Sans Display"/>
                <a:ea typeface="+mn-ea"/>
                <a:cs typeface="Segoe Sans Display"/>
              </a:endParaRPr>
            </a:p>
          </p:txBody>
        </p:sp>
        <p:sp>
          <p:nvSpPr>
            <p:cNvPr id="10" name="TextBox 9">
              <a:extLst>
                <a:ext uri="{FF2B5EF4-FFF2-40B4-BE49-F238E27FC236}">
                  <a16:creationId xmlns:a16="http://schemas.microsoft.com/office/drawing/2014/main" id="{90ABB7B0-1FAC-C2BE-927E-BA7066EFB441}"/>
                </a:ext>
              </a:extLst>
            </p:cNvPr>
            <p:cNvSpPr txBox="1"/>
            <p:nvPr/>
          </p:nvSpPr>
          <p:spPr>
            <a:xfrm>
              <a:off x="2154901" y="4452078"/>
              <a:ext cx="4295180" cy="790939"/>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000" b="0" i="0" u="none" strike="noStrike" kern="1200" cap="none" spc="0" normalizeH="0" baseline="0" noProof="0" dirty="0">
                  <a:ln>
                    <a:noFill/>
                  </a:ln>
                  <a:solidFill>
                    <a:srgbClr val="0078D4"/>
                  </a:solidFill>
                  <a:effectLst/>
                  <a:uLnTx/>
                  <a:uFillTx/>
                  <a:latin typeface="Segoe Sans Text"/>
                  <a:ea typeface="+mn-ea"/>
                  <a:cs typeface="+mn-cs"/>
                  <a:hlinkClick r:id="rId3"/>
                </a:rPr>
                <a:t>Registrazione al Customer Hub</a:t>
              </a:r>
              <a:endParaRPr kumimoji="0" lang="en-US" sz="1000" b="0" i="0" u="none" strike="noStrike" kern="1200" cap="none" spc="0" normalizeH="0" baseline="0" noProof="0" dirty="0">
                <a:ln>
                  <a:noFill/>
                </a:ln>
                <a:solidFill>
                  <a:srgbClr val="0078D4"/>
                </a:solidFill>
                <a:effectLst/>
                <a:uLnTx/>
                <a:uFillTx/>
                <a:latin typeface="Segoe Sans Tex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000" b="0" i="0" u="none" strike="noStrike" kern="1200" cap="none" spc="0" normalizeH="0" baseline="0" noProof="0" dirty="0">
                  <a:ln>
                    <a:noFill/>
                  </a:ln>
                  <a:solidFill>
                    <a:srgbClr val="0078D4"/>
                  </a:solidFill>
                  <a:effectLst/>
                  <a:uLnTx/>
                  <a:uFillTx/>
                  <a:latin typeface="Segoe Sans Text"/>
                  <a:ea typeface="+mn-ea"/>
                  <a:cs typeface="+mn-cs"/>
                  <a:hlinkClick r:id="rId5"/>
                </a:rPr>
                <a:t>Apri eventi di formazione</a:t>
              </a:r>
              <a:endParaRPr kumimoji="0" lang="en-US" sz="1000" b="0" i="0" u="none" strike="noStrike" kern="1200" cap="none" spc="0" normalizeH="0" baseline="0" noProof="0" dirty="0">
                <a:ln>
                  <a:noFill/>
                </a:ln>
                <a:solidFill>
                  <a:srgbClr val="0078D4"/>
                </a:solidFill>
                <a:effectLst/>
                <a:uLnTx/>
                <a:uFillTx/>
                <a:latin typeface="Segoe Sans Tex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000" b="0" i="0" u="none" strike="noStrike" kern="1200" cap="none" spc="0" normalizeH="0" baseline="0" noProof="0" dirty="0">
                  <a:ln>
                    <a:noFill/>
                  </a:ln>
                  <a:solidFill>
                    <a:srgbClr val="0078D4"/>
                  </a:solidFill>
                  <a:effectLst/>
                  <a:uLnTx/>
                  <a:uFillTx/>
                  <a:latin typeface="Segoe Sans Text"/>
                  <a:ea typeface="+mn-ea"/>
                  <a:cs typeface="+mn-cs"/>
                  <a:hlinkClick r:id="rId6"/>
                </a:rPr>
                <a:t>Webinar IA</a:t>
              </a:r>
              <a:endParaRPr kumimoji="0" lang="en-US" sz="1000" b="0" i="0" u="none" strike="noStrike" kern="1200" cap="none" spc="0" normalizeH="0" baseline="0" noProof="0" dirty="0">
                <a:ln>
                  <a:noFill/>
                </a:ln>
                <a:solidFill>
                  <a:srgbClr val="0078D4"/>
                </a:solidFill>
                <a:effectLst/>
                <a:uLnTx/>
                <a:uFillTx/>
                <a:latin typeface="Segoe Sans Text"/>
                <a:ea typeface="+mn-ea"/>
                <a:cs typeface="+mn-cs"/>
              </a:endParaRPr>
            </a:p>
          </p:txBody>
        </p:sp>
      </p:grpSp>
      <p:grpSp>
        <p:nvGrpSpPr>
          <p:cNvPr id="14" name="Group 13">
            <a:extLst>
              <a:ext uri="{FF2B5EF4-FFF2-40B4-BE49-F238E27FC236}">
                <a16:creationId xmlns:a16="http://schemas.microsoft.com/office/drawing/2014/main" id="{EF34CD61-6B4F-5E16-E964-6DB45E683B6C}"/>
              </a:ext>
            </a:extLst>
          </p:cNvPr>
          <p:cNvGrpSpPr/>
          <p:nvPr/>
        </p:nvGrpSpPr>
        <p:grpSpPr>
          <a:xfrm>
            <a:off x="8939970" y="1568193"/>
            <a:ext cx="2592000" cy="2783802"/>
            <a:chOff x="2020888" y="1800444"/>
            <a:chExt cx="4658586" cy="3522244"/>
          </a:xfrm>
        </p:grpSpPr>
        <p:sp>
          <p:nvSpPr>
            <p:cNvPr id="15" name="Rectangle: Rounded Corners 14">
              <a:extLst>
                <a:ext uri="{FF2B5EF4-FFF2-40B4-BE49-F238E27FC236}">
                  <a16:creationId xmlns:a16="http://schemas.microsoft.com/office/drawing/2014/main" id="{86AB1690-29A7-E71F-960C-CA87B21CCF70}"/>
                </a:ext>
              </a:extLst>
            </p:cNvPr>
            <p:cNvSpPr/>
            <p:nvPr/>
          </p:nvSpPr>
          <p:spPr bwMode="auto">
            <a:xfrm>
              <a:off x="2020888" y="1800444"/>
              <a:ext cx="4658586" cy="3278756"/>
            </a:xfrm>
            <a:prstGeom prst="roundRect">
              <a:avLst>
                <a:gd name="adj" fmla="val 4879"/>
              </a:avLst>
            </a:prstGeom>
            <a:solidFill>
              <a:srgbClr val="FFFFFF">
                <a:alpha val="85000"/>
              </a:srgbClr>
            </a:solidFill>
            <a:ln w="19050">
              <a:solidFill>
                <a:srgbClr val="7030A0"/>
              </a:solidFill>
              <a:headEnd type="none" w="med" len="med"/>
              <a:tailEnd type="none" w="med" len="med"/>
            </a:ln>
            <a:effectLst>
              <a:outerShdw blurRad="1270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Sans Display"/>
                <a:ea typeface="+mn-ea"/>
                <a:cs typeface="Segoe UI" pitchFamily="34" charset="0"/>
              </a:endParaRPr>
            </a:p>
          </p:txBody>
        </p:sp>
        <p:sp>
          <p:nvSpPr>
            <p:cNvPr id="17" name="TextBox 16">
              <a:extLst>
                <a:ext uri="{FF2B5EF4-FFF2-40B4-BE49-F238E27FC236}">
                  <a16:creationId xmlns:a16="http://schemas.microsoft.com/office/drawing/2014/main" id="{35219224-D7E6-7717-4951-B0F1D99BB728}"/>
                </a:ext>
              </a:extLst>
            </p:cNvPr>
            <p:cNvSpPr txBox="1"/>
            <p:nvPr/>
          </p:nvSpPr>
          <p:spPr>
            <a:xfrm>
              <a:off x="2743819" y="1966128"/>
              <a:ext cx="3843831" cy="350964"/>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Segoe Sans Display Semibold"/>
                  <a:ea typeface="+mn-ea"/>
                  <a:cs typeface="Segoe Sans Display Semibold"/>
                </a:rPr>
                <a:t>Formazione continua</a:t>
              </a:r>
              <a:endParaRPr kumimoji="0" lang="en-US" sz="1200" b="0" i="0" u="none" strike="noStrike" kern="1200" cap="none" spc="0" normalizeH="0" baseline="0" noProof="0" dirty="0">
                <a:ln>
                  <a:noFill/>
                </a:ln>
                <a:solidFill>
                  <a:prstClr val="black"/>
                </a:solidFill>
                <a:effectLst/>
                <a:uLnTx/>
                <a:uFillTx/>
                <a:latin typeface="Segoe Sans Display"/>
                <a:ea typeface="+mn-ea"/>
                <a:cs typeface="Segoe Sans Display"/>
              </a:endParaRPr>
            </a:p>
          </p:txBody>
        </p:sp>
        <p:sp>
          <p:nvSpPr>
            <p:cNvPr id="18" name="TextBox 17">
              <a:extLst>
                <a:ext uri="{FF2B5EF4-FFF2-40B4-BE49-F238E27FC236}">
                  <a16:creationId xmlns:a16="http://schemas.microsoft.com/office/drawing/2014/main" id="{8F94F293-68B8-5305-316D-BF831C44EE15}"/>
                </a:ext>
              </a:extLst>
            </p:cNvPr>
            <p:cNvSpPr txBox="1"/>
            <p:nvPr/>
          </p:nvSpPr>
          <p:spPr>
            <a:xfrm>
              <a:off x="2190445" y="4154026"/>
              <a:ext cx="4295180" cy="1168662"/>
            </a:xfrm>
            <a:prstGeom prst="rect">
              <a:avLst/>
            </a:prstGeom>
            <a:noFill/>
          </p:spPr>
          <p:txBody>
            <a:bodyPr wrap="square" lIns="91440" tIns="45720" rIns="91440" bIns="45720" anchor="t">
              <a:spAutoFit/>
            </a:bodyPr>
            <a:lstStyle/>
            <a:p>
              <a:pPr marL="285750" indent="-285750" defTabSz="914400">
                <a:lnSpc>
                  <a:spcPct val="110000"/>
                </a:lnSpc>
                <a:buFont typeface="Arial" panose="020B0604020202020204" pitchFamily="34" charset="0"/>
                <a:buChar char="•"/>
                <a:defRPr/>
              </a:pPr>
              <a:r>
                <a:rPr lang="it-IT" sz="1000" dirty="0">
                  <a:solidFill>
                    <a:srgbClr val="000000"/>
                  </a:solidFill>
                  <a:latin typeface="Segoe UI"/>
                  <a:cs typeface="Segoe UI"/>
                  <a:hlinkClick r:id="rId7"/>
                </a:rPr>
                <a:t>Agenti in un giorno</a:t>
              </a:r>
              <a:endParaRPr kumimoji="0" lang="en-US" sz="1000" b="0" i="0" u="none" strike="noStrike" kern="1200" cap="none" spc="0" normalizeH="0" baseline="0" noProof="0" dirty="0">
                <a:ln>
                  <a:noFill/>
                </a:ln>
                <a:solidFill>
                  <a:srgbClr val="000000"/>
                </a:solidFill>
                <a:effectLst/>
                <a:uLnTx/>
                <a:uFillTx/>
                <a:latin typeface="Segoe Sans Text"/>
                <a:ea typeface="+mn-ea"/>
                <a:cs typeface="+mn-cs"/>
                <a:hlinkClick r:id="rId8"/>
              </a:endParaRP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it-it" sz="1000" b="0" i="0" u="none" strike="noStrike" kern="1200" cap="none" spc="0" normalizeH="0" baseline="0" noProof="0" dirty="0">
                  <a:ln>
                    <a:noFill/>
                  </a:ln>
                  <a:solidFill>
                    <a:srgbClr val="000000"/>
                  </a:solidFill>
                  <a:effectLst/>
                  <a:uLnTx/>
                  <a:uFillTx/>
                  <a:latin typeface="Segoe Sans Text"/>
                  <a:ea typeface="+mn-ea"/>
                  <a:cs typeface="+mn-cs"/>
                  <a:hlinkClick r:id="rId8"/>
                </a:rPr>
                <a:t>AI Skills Navigator</a:t>
              </a:r>
              <a:endParaRPr kumimoji="0" lang="en-US" sz="1000" b="0" i="0" u="none" strike="noStrike" kern="1200" cap="none" spc="0" normalizeH="0" baseline="0" noProof="0" dirty="0">
                <a:ln>
                  <a:noFill/>
                </a:ln>
                <a:solidFill>
                  <a:srgbClr val="000000"/>
                </a:solidFill>
                <a:effectLst/>
                <a:uLnTx/>
                <a:uFillTx/>
                <a:latin typeface="Segoe Sans Text"/>
                <a:ea typeface="+mn-ea"/>
                <a:cs typeface="+mn-cs"/>
              </a:endParaRP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it-it" sz="1000" dirty="0">
                  <a:solidFill>
                    <a:srgbClr val="000000"/>
                  </a:solidFill>
                  <a:latin typeface="Segoe Sans Text"/>
                  <a:hlinkClick r:id="rId8"/>
                </a:rPr>
                <a:t>Accademia Agenti</a:t>
              </a:r>
              <a:r>
                <a:rPr lang="it-it" sz="1000" dirty="0">
                  <a:solidFill>
                    <a:srgbClr val="000000"/>
                  </a:solidFill>
                  <a:latin typeface="Segoe Sans Text"/>
                  <a:hlinkClick r:id="rId9"/>
                </a:rPr>
                <a:t> </a:t>
              </a:r>
            </a:p>
            <a:p>
              <a:pPr marR="0" lvl="0" algn="l" defTabSz="914400" rtl="0" eaLnBrk="1" fontAlgn="auto" latinLnBrk="0" hangingPunct="1">
                <a:lnSpc>
                  <a:spcPct val="110000"/>
                </a:lnSpc>
                <a:spcBef>
                  <a:spcPts val="0"/>
                </a:spcBef>
                <a:spcAft>
                  <a:spcPts val="0"/>
                </a:spcAft>
                <a:buClrTx/>
                <a:buSzTx/>
                <a:tabLst/>
                <a:defRPr/>
              </a:pPr>
              <a:r>
                <a:rPr kumimoji="0" lang="it-it" sz="1000" b="0" i="0" u="none" strike="noStrike" kern="1200" cap="none" spc="0" normalizeH="0" baseline="0" noProof="0" dirty="0">
                  <a:ln>
                    <a:noFill/>
                  </a:ln>
                  <a:solidFill>
                    <a:srgbClr val="000000"/>
                  </a:solidFill>
                  <a:effectLst/>
                  <a:uLnTx/>
                  <a:uFillTx/>
                  <a:latin typeface="Segoe Sans Text"/>
                  <a:hlinkClick r:id="rId9"/>
                </a:rPr>
                <a:t> </a:t>
              </a:r>
              <a:endParaRPr kumimoji="0" lang="en-US" sz="1000" b="0" i="0" u="none" strike="noStrike" kern="1200" cap="none" spc="0" normalizeH="0" baseline="0" noProof="0" dirty="0">
                <a:ln>
                  <a:noFill/>
                </a:ln>
                <a:solidFill>
                  <a:srgbClr val="000000"/>
                </a:solidFill>
                <a:effectLst/>
                <a:uLnTx/>
                <a:uFillTx/>
                <a:latin typeface="Segoe Sans Text"/>
                <a:ea typeface="+mn-ea"/>
                <a:cs typeface="+mn-cs"/>
              </a:endParaRP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Segoe Sans Text"/>
                <a:ea typeface="+mn-ea"/>
                <a:cs typeface="+mn-cs"/>
              </a:endParaRPr>
            </a:p>
          </p:txBody>
        </p:sp>
      </p:grpSp>
      <p:sp>
        <p:nvSpPr>
          <p:cNvPr id="38" name="Oval 37">
            <a:extLst>
              <a:ext uri="{FF2B5EF4-FFF2-40B4-BE49-F238E27FC236}">
                <a16:creationId xmlns:a16="http://schemas.microsoft.com/office/drawing/2014/main" id="{42FBD324-4C0D-12E6-C99A-94468228F64C}"/>
              </a:ext>
            </a:extLst>
          </p:cNvPr>
          <p:cNvSpPr>
            <a:spLocks noChangeAspect="1"/>
          </p:cNvSpPr>
          <p:nvPr/>
        </p:nvSpPr>
        <p:spPr bwMode="auto">
          <a:xfrm>
            <a:off x="683347" y="1706096"/>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1</a:t>
            </a:r>
          </a:p>
        </p:txBody>
      </p:sp>
      <p:sp>
        <p:nvSpPr>
          <p:cNvPr id="39" name="Oval 38">
            <a:extLst>
              <a:ext uri="{FF2B5EF4-FFF2-40B4-BE49-F238E27FC236}">
                <a16:creationId xmlns:a16="http://schemas.microsoft.com/office/drawing/2014/main" id="{6A48170D-54A7-903D-D779-AB561083A5C3}"/>
              </a:ext>
            </a:extLst>
          </p:cNvPr>
          <p:cNvSpPr>
            <a:spLocks noChangeAspect="1"/>
          </p:cNvSpPr>
          <p:nvPr/>
        </p:nvSpPr>
        <p:spPr bwMode="auto">
          <a:xfrm>
            <a:off x="3459798" y="1645720"/>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2</a:t>
            </a:r>
          </a:p>
        </p:txBody>
      </p:sp>
      <p:sp>
        <p:nvSpPr>
          <p:cNvPr id="40" name="Oval 39">
            <a:extLst>
              <a:ext uri="{FF2B5EF4-FFF2-40B4-BE49-F238E27FC236}">
                <a16:creationId xmlns:a16="http://schemas.microsoft.com/office/drawing/2014/main" id="{2D1B4576-1958-C5C5-A2B3-8FFE90D37EB5}"/>
              </a:ext>
            </a:extLst>
          </p:cNvPr>
          <p:cNvSpPr>
            <a:spLocks noChangeAspect="1"/>
          </p:cNvSpPr>
          <p:nvPr/>
        </p:nvSpPr>
        <p:spPr bwMode="auto">
          <a:xfrm>
            <a:off x="6246847" y="1627533"/>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3</a:t>
            </a:r>
          </a:p>
        </p:txBody>
      </p:sp>
      <p:sp>
        <p:nvSpPr>
          <p:cNvPr id="42" name="Oval 41">
            <a:extLst>
              <a:ext uri="{FF2B5EF4-FFF2-40B4-BE49-F238E27FC236}">
                <a16:creationId xmlns:a16="http://schemas.microsoft.com/office/drawing/2014/main" id="{FA94E79B-01C5-0759-0CF4-BFE097E83AD5}"/>
              </a:ext>
            </a:extLst>
          </p:cNvPr>
          <p:cNvSpPr>
            <a:spLocks noChangeAspect="1"/>
          </p:cNvSpPr>
          <p:nvPr/>
        </p:nvSpPr>
        <p:spPr bwMode="auto">
          <a:xfrm>
            <a:off x="9016082" y="1611578"/>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4</a:t>
            </a:r>
          </a:p>
        </p:txBody>
      </p:sp>
      <p:sp>
        <p:nvSpPr>
          <p:cNvPr id="44" name="TextBox 43">
            <a:extLst>
              <a:ext uri="{FF2B5EF4-FFF2-40B4-BE49-F238E27FC236}">
                <a16:creationId xmlns:a16="http://schemas.microsoft.com/office/drawing/2014/main" id="{CC97005A-E41F-DC5A-F241-2635CC682FBB}"/>
              </a:ext>
            </a:extLst>
          </p:cNvPr>
          <p:cNvSpPr txBox="1"/>
          <p:nvPr/>
        </p:nvSpPr>
        <p:spPr>
          <a:xfrm>
            <a:off x="100457" y="1041579"/>
            <a:ext cx="1101852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091F2C"/>
                </a:solidFill>
                <a:effectLst/>
                <a:uLnTx/>
                <a:uFillTx/>
                <a:latin typeface="Segoe Pro Display Semibold" panose="020B0702040504020203" pitchFamily="34" charset="0"/>
                <a:ea typeface="+mn-ea"/>
                <a:cs typeface="Segoe Sans Display" pitchFamily="2" charset="0"/>
              </a:rPr>
              <a:t>4 strategie immediate per accelerare l'adozione degli agenti e massimizzare il valore subito!</a:t>
            </a:r>
            <a:endParaRPr kumimoji="0" lang="en-AU" sz="2000" b="0" i="0" u="none" strike="noStrike" kern="1200" cap="none" spc="0" normalizeH="0" baseline="0" noProof="0" dirty="0">
              <a:ln>
                <a:noFill/>
              </a:ln>
              <a:solidFill>
                <a:srgbClr val="000000"/>
              </a:solidFill>
              <a:effectLst/>
              <a:uLnTx/>
              <a:uFillTx/>
              <a:latin typeface="Segoe Pro Display Semibold" panose="020B0702040504020203" pitchFamily="34" charset="0"/>
              <a:ea typeface="+mn-ea"/>
              <a:cs typeface="+mn-cs"/>
            </a:endParaRPr>
          </a:p>
        </p:txBody>
      </p:sp>
      <p:pic>
        <p:nvPicPr>
          <p:cNvPr id="16" name="Picture 15" descr="Uno screenshot di un computer  I contenuti generati dall'IA possono non essere corretti.">
            <a:extLst>
              <a:ext uri="{FF2B5EF4-FFF2-40B4-BE49-F238E27FC236}">
                <a16:creationId xmlns:a16="http://schemas.microsoft.com/office/drawing/2014/main" id="{04721786-5F5C-8ABD-7C7D-E4DCB6AF0B78}"/>
              </a:ext>
            </a:extLst>
          </p:cNvPr>
          <p:cNvPicPr>
            <a:picLocks noChangeAspect="1"/>
          </p:cNvPicPr>
          <p:nvPr/>
        </p:nvPicPr>
        <p:blipFill>
          <a:blip r:embed="rId10"/>
          <a:stretch>
            <a:fillRect/>
          </a:stretch>
        </p:blipFill>
        <p:spPr>
          <a:xfrm>
            <a:off x="9544438" y="2276470"/>
            <a:ext cx="1312206" cy="1030286"/>
          </a:xfrm>
          <a:prstGeom prst="rect">
            <a:avLst/>
          </a:prstGeom>
          <a:ln>
            <a:noFill/>
          </a:ln>
          <a:effectLst>
            <a:outerShdw blurRad="190500" algn="tl" rotWithShape="0">
              <a:srgbClr val="000000">
                <a:alpha val="70000"/>
              </a:srgbClr>
            </a:outerShdw>
          </a:effectLst>
        </p:spPr>
      </p:pic>
      <p:pic>
        <p:nvPicPr>
          <p:cNvPr id="78" name="MS logo white - EMF" descr="Logo Microsoft">
            <a:extLst>
              <a:ext uri="{FF2B5EF4-FFF2-40B4-BE49-F238E27FC236}">
                <a16:creationId xmlns:a16="http://schemas.microsoft.com/office/drawing/2014/main" id="{5217FDF7-0225-CCE7-9AFA-C75E635B7950}"/>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bwMode="black">
          <a:xfrm>
            <a:off x="10200541" y="6301770"/>
            <a:ext cx="1464188" cy="313584"/>
          </a:xfrm>
          <a:prstGeom prst="rect">
            <a:avLst/>
          </a:prstGeom>
        </p:spPr>
      </p:pic>
      <p:pic>
        <p:nvPicPr>
          <p:cNvPr id="23" name="Picture 22">
            <a:extLst>
              <a:ext uri="{FF2B5EF4-FFF2-40B4-BE49-F238E27FC236}">
                <a16:creationId xmlns:a16="http://schemas.microsoft.com/office/drawing/2014/main" id="{4E10D670-4A88-6B65-7835-76F9B55A3901}"/>
              </a:ext>
            </a:extLst>
          </p:cNvPr>
          <p:cNvPicPr>
            <a:picLocks noChangeAspect="1"/>
          </p:cNvPicPr>
          <p:nvPr/>
        </p:nvPicPr>
        <p:blipFill>
          <a:blip r:embed="rId12"/>
          <a:stretch>
            <a:fillRect/>
          </a:stretch>
        </p:blipFill>
        <p:spPr>
          <a:xfrm>
            <a:off x="6577669" y="2098763"/>
            <a:ext cx="1740338" cy="1163047"/>
          </a:xfrm>
          <a:prstGeom prst="rect">
            <a:avLst/>
          </a:prstGeom>
        </p:spPr>
      </p:pic>
      <p:pic>
        <p:nvPicPr>
          <p:cNvPr id="4" name="Picture 3">
            <a:extLst>
              <a:ext uri="{FF2B5EF4-FFF2-40B4-BE49-F238E27FC236}">
                <a16:creationId xmlns:a16="http://schemas.microsoft.com/office/drawing/2014/main" id="{F82E7D74-476B-D999-7618-C7B556E5C9AA}"/>
              </a:ext>
            </a:extLst>
          </p:cNvPr>
          <p:cNvPicPr>
            <a:picLocks noChangeAspect="1"/>
          </p:cNvPicPr>
          <p:nvPr/>
        </p:nvPicPr>
        <p:blipFill>
          <a:blip r:embed="rId13"/>
          <a:stretch>
            <a:fillRect/>
          </a:stretch>
        </p:blipFill>
        <p:spPr>
          <a:xfrm>
            <a:off x="1182345" y="2098763"/>
            <a:ext cx="1552410" cy="1275513"/>
          </a:xfrm>
          <a:prstGeom prst="rect">
            <a:avLst/>
          </a:prstGeom>
        </p:spPr>
      </p:pic>
      <p:sp>
        <p:nvSpPr>
          <p:cNvPr id="12" name="TextBox 11">
            <a:extLst>
              <a:ext uri="{FF2B5EF4-FFF2-40B4-BE49-F238E27FC236}">
                <a16:creationId xmlns:a16="http://schemas.microsoft.com/office/drawing/2014/main" id="{2CF66BDA-98DC-5259-5A64-546372F4B75E}"/>
              </a:ext>
            </a:extLst>
          </p:cNvPr>
          <p:cNvSpPr txBox="1"/>
          <p:nvPr/>
        </p:nvSpPr>
        <p:spPr>
          <a:xfrm>
            <a:off x="828831" y="3447089"/>
            <a:ext cx="2389804" cy="415819"/>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it-it" sz="1000" b="0" i="0" u="none" strike="noStrike" kern="1200" cap="none" spc="0" normalizeH="0" baseline="0" noProof="0" dirty="0">
                <a:ln>
                  <a:noFill/>
                </a:ln>
                <a:solidFill>
                  <a:srgbClr val="000000"/>
                </a:solidFill>
                <a:effectLst/>
                <a:uLnTx/>
                <a:uFillTx/>
                <a:latin typeface="Segoe Sans Text"/>
                <a:ea typeface="+mn-ea"/>
                <a:cs typeface="+mn-cs"/>
                <a:hlinkClick r:id="rId14"/>
              </a:rPr>
              <a:t>Hub di adozione degli agenti</a:t>
            </a:r>
            <a:endParaRPr kumimoji="0" lang="en-US" sz="1000" b="0" i="0" u="none" strike="noStrike" kern="1200" cap="none" spc="0" normalizeH="0" baseline="0" noProof="0" dirty="0">
              <a:ln>
                <a:noFill/>
              </a:ln>
              <a:solidFill>
                <a:srgbClr val="000000"/>
              </a:solidFill>
              <a:effectLst/>
              <a:uLnTx/>
              <a:uFillTx/>
              <a:latin typeface="Segoe Sans Text"/>
              <a:ea typeface="+mn-ea"/>
              <a:cs typeface="+mn-cs"/>
            </a:endParaRP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it-it" sz="1000" b="0" i="0" u="none" strike="noStrike" kern="1200" cap="none" spc="0" normalizeH="0" baseline="0" noProof="0" dirty="0">
                <a:ln>
                  <a:noFill/>
                </a:ln>
                <a:solidFill>
                  <a:srgbClr val="000000"/>
                </a:solidFill>
                <a:effectLst/>
                <a:uLnTx/>
                <a:uFillTx/>
                <a:latin typeface="Segoe Sans Display"/>
                <a:ea typeface="+mn-ea"/>
                <a:cs typeface="+mn-cs"/>
                <a:hlinkClick r:id="rId15"/>
              </a:rPr>
              <a:t>Kit per il successo con gli agenti</a:t>
            </a:r>
            <a:endParaRPr kumimoji="0" lang="en-US" sz="1000" b="0" i="0" u="none" strike="noStrike" kern="1200" cap="none" spc="0" normalizeH="0" baseline="0" noProof="0" dirty="0">
              <a:ln>
                <a:noFill/>
              </a:ln>
              <a:solidFill>
                <a:srgbClr val="000000"/>
              </a:solidFill>
              <a:effectLst/>
              <a:uLnTx/>
              <a:uFillTx/>
              <a:latin typeface="Segoe Sans Text"/>
              <a:ea typeface="+mn-ea"/>
              <a:cs typeface="+mn-cs"/>
            </a:endParaRPr>
          </a:p>
        </p:txBody>
      </p:sp>
      <p:pic>
        <p:nvPicPr>
          <p:cNvPr id="13" name="Picture 12">
            <a:extLst>
              <a:ext uri="{FF2B5EF4-FFF2-40B4-BE49-F238E27FC236}">
                <a16:creationId xmlns:a16="http://schemas.microsoft.com/office/drawing/2014/main" id="{5CE97C58-1EF9-8EBC-0F7E-3D1F016B957D}"/>
              </a:ext>
            </a:extLst>
          </p:cNvPr>
          <p:cNvPicPr>
            <a:picLocks noChangeAspect="1"/>
          </p:cNvPicPr>
          <p:nvPr/>
        </p:nvPicPr>
        <p:blipFill>
          <a:blip r:embed="rId16"/>
          <a:stretch>
            <a:fillRect/>
          </a:stretch>
        </p:blipFill>
        <p:spPr>
          <a:xfrm>
            <a:off x="3864718" y="2218876"/>
            <a:ext cx="1781076" cy="1126569"/>
          </a:xfrm>
          <a:prstGeom prst="rect">
            <a:avLst/>
          </a:prstGeom>
        </p:spPr>
      </p:pic>
      <p:sp>
        <p:nvSpPr>
          <p:cNvPr id="3" name="Rectangle: Rounded Corners 2">
            <a:extLst>
              <a:ext uri="{FF2B5EF4-FFF2-40B4-BE49-F238E27FC236}">
                <a16:creationId xmlns:a16="http://schemas.microsoft.com/office/drawing/2014/main" id="{D44D812B-3579-DEBC-5311-B2DB8AD8C354}"/>
              </a:ext>
            </a:extLst>
          </p:cNvPr>
          <p:cNvSpPr>
            <a:spLocks noChangeAspect="1"/>
          </p:cNvSpPr>
          <p:nvPr/>
        </p:nvSpPr>
        <p:spPr bwMode="auto">
          <a:xfrm>
            <a:off x="816814" y="4226096"/>
            <a:ext cx="2259761" cy="402960"/>
          </a:xfrm>
          <a:prstGeom prst="roundRect">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Suggerimento</a:t>
            </a:r>
          </a:p>
        </p:txBody>
      </p:sp>
      <p:sp>
        <p:nvSpPr>
          <p:cNvPr id="6" name="TextBox 5">
            <a:extLst>
              <a:ext uri="{FF2B5EF4-FFF2-40B4-BE49-F238E27FC236}">
                <a16:creationId xmlns:a16="http://schemas.microsoft.com/office/drawing/2014/main" id="{5B0615A9-5335-F21F-6AFF-1A11AB5D8E30}"/>
              </a:ext>
            </a:extLst>
          </p:cNvPr>
          <p:cNvSpPr txBox="1"/>
          <p:nvPr/>
        </p:nvSpPr>
        <p:spPr>
          <a:xfrm>
            <a:off x="952798" y="4660672"/>
            <a:ext cx="10471316" cy="307777"/>
          </a:xfrm>
          <a:prstGeom prst="rect">
            <a:avLst/>
          </a:prstGeom>
          <a:noFill/>
        </p:spPr>
        <p:txBody>
          <a:bodyPr wrap="square" lIns="0" tIns="0" rIns="0" bIns="0" rtlCol="0">
            <a:spAutoFit/>
          </a:bodyPr>
          <a:lstStyle/>
          <a:p>
            <a:pPr fontAlgn="t"/>
            <a:r>
              <a:rPr lang="it-it" sz="2000" dirty="0"/>
              <a:t>Fissa i tuoi agenti preferiti nella barra laterale sinistra di Copilot Chat per un accesso rapido</a:t>
            </a:r>
          </a:p>
        </p:txBody>
      </p:sp>
    </p:spTree>
    <p:extLst>
      <p:ext uri="{BB962C8B-B14F-4D97-AF65-F5344CB8AC3E}">
        <p14:creationId xmlns:p14="http://schemas.microsoft.com/office/powerpoint/2010/main" val="118401994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D3102-87D2-A674-7EFB-B9FC8A977984}"/>
            </a:ext>
          </a:extLst>
        </p:cNvPr>
        <p:cNvGrpSpPr/>
        <p:nvPr/>
      </p:nvGrpSpPr>
      <p:grpSpPr>
        <a:xfrm>
          <a:off x="0" y="0"/>
          <a:ext cx="0" cy="0"/>
          <a:chOff x="0" y="0"/>
          <a:chExt cx="0" cy="0"/>
        </a:xfrm>
      </p:grpSpPr>
      <p:grpSp>
        <p:nvGrpSpPr>
          <p:cNvPr id="74" name="Group 73">
            <a:extLst>
              <a:ext uri="{FF2B5EF4-FFF2-40B4-BE49-F238E27FC236}">
                <a16:creationId xmlns:a16="http://schemas.microsoft.com/office/drawing/2014/main" id="{61CCD406-64A8-3CDA-5BDF-6077559EAE38}"/>
              </a:ext>
              <a:ext uri="{C183D7F6-B498-43B3-948B-1728B52AA6E4}">
                <adec:decorative xmlns:adec="http://schemas.microsoft.com/office/drawing/2017/decorative" val="1"/>
              </a:ext>
            </a:extLst>
          </p:cNvPr>
          <p:cNvGrpSpPr/>
          <p:nvPr/>
        </p:nvGrpSpPr>
        <p:grpSpPr>
          <a:xfrm flipV="1">
            <a:off x="0" y="5556346"/>
            <a:ext cx="12192000" cy="1309115"/>
            <a:chOff x="0" y="0"/>
            <a:chExt cx="12192000" cy="1309115"/>
          </a:xfrm>
        </p:grpSpPr>
        <p:sp>
          <p:nvSpPr>
            <p:cNvPr id="75" name="Rectangle 74">
              <a:extLst>
                <a:ext uri="{FF2B5EF4-FFF2-40B4-BE49-F238E27FC236}">
                  <a16:creationId xmlns:a16="http://schemas.microsoft.com/office/drawing/2014/main" id="{A702DA74-4FCC-6FDC-EB72-1D80EA6823CD}"/>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Text"/>
                <a:ea typeface="+mn-ea"/>
                <a:cs typeface="+mn-cs"/>
              </a:endParaRPr>
            </a:p>
          </p:txBody>
        </p:sp>
        <p:sp>
          <p:nvSpPr>
            <p:cNvPr id="76" name="Rectangle 75">
              <a:extLst>
                <a:ext uri="{FF2B5EF4-FFF2-40B4-BE49-F238E27FC236}">
                  <a16:creationId xmlns:a16="http://schemas.microsoft.com/office/drawing/2014/main" id="{67D873A7-7518-A865-9DFD-70975FFEB98B}"/>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Text"/>
                <a:ea typeface="+mn-ea"/>
                <a:cs typeface="+mn-cs"/>
              </a:endParaRPr>
            </a:p>
          </p:txBody>
        </p:sp>
      </p:grpSp>
      <p:sp>
        <p:nvSpPr>
          <p:cNvPr id="51" name="TextBox 50">
            <a:extLst>
              <a:ext uri="{FF2B5EF4-FFF2-40B4-BE49-F238E27FC236}">
                <a16:creationId xmlns:a16="http://schemas.microsoft.com/office/drawing/2014/main" id="{6AB087EB-A39C-2755-991C-1762C45F420B}"/>
              </a:ext>
            </a:extLst>
          </p:cNvPr>
          <p:cNvSpPr txBox="1"/>
          <p:nvPr/>
        </p:nvSpPr>
        <p:spPr>
          <a:xfrm>
            <a:off x="262270" y="1237646"/>
            <a:ext cx="11848909" cy="3538515"/>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2B00730B-CEF0-2B9D-CA06-833F721BEAE0}"/>
              </a:ext>
            </a:extLst>
          </p:cNvPr>
          <p:cNvSpPr>
            <a:spLocks noGrp="1"/>
          </p:cNvSpPr>
          <p:nvPr>
            <p:ph type="title"/>
          </p:nvPr>
        </p:nvSpPr>
        <p:spPr>
          <a:xfrm>
            <a:off x="650629" y="228094"/>
            <a:ext cx="10046100" cy="553998"/>
          </a:xfrm>
        </p:spPr>
        <p:txBody>
          <a:bodyPr/>
          <a:lstStyle/>
          <a:p>
            <a:pPr fontAlgn="t"/>
            <a:r>
              <a:rPr lang="it-it" dirty="0"/>
              <a:t>I benefici di una adozione strutturata</a:t>
            </a:r>
          </a:p>
        </p:txBody>
      </p:sp>
      <p:pic>
        <p:nvPicPr>
          <p:cNvPr id="78" name="MS logo white - EMF" descr="Logo Microsoft">
            <a:extLst>
              <a:ext uri="{FF2B5EF4-FFF2-40B4-BE49-F238E27FC236}">
                <a16:creationId xmlns:a16="http://schemas.microsoft.com/office/drawing/2014/main" id="{C3EC741B-EDF6-31BD-3D79-F0F06AE4FB8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10200541" y="6301770"/>
            <a:ext cx="1464188" cy="313584"/>
          </a:xfrm>
          <a:prstGeom prst="rect">
            <a:avLst/>
          </a:prstGeom>
        </p:spPr>
      </p:pic>
      <p:sp>
        <p:nvSpPr>
          <p:cNvPr id="5" name="TextBox 4">
            <a:extLst>
              <a:ext uri="{FF2B5EF4-FFF2-40B4-BE49-F238E27FC236}">
                <a16:creationId xmlns:a16="http://schemas.microsoft.com/office/drawing/2014/main" id="{BD3FE591-8BFA-5C76-A233-BAE2EFAADF0E}"/>
              </a:ext>
            </a:extLst>
          </p:cNvPr>
          <p:cNvSpPr txBox="1"/>
          <p:nvPr/>
        </p:nvSpPr>
        <p:spPr>
          <a:xfrm>
            <a:off x="504056" y="1439537"/>
            <a:ext cx="11425674" cy="3385542"/>
          </a:xfrm>
          <a:prstGeom prst="rect">
            <a:avLst/>
          </a:prstGeom>
          <a:noFill/>
        </p:spPr>
        <p:txBody>
          <a:bodyPr wrap="square" lIns="0" tIns="0" rIns="0" bIns="0" rtlCol="0">
            <a:spAutoFit/>
          </a:bodyPr>
          <a:lstStyle/>
          <a:p>
            <a:pPr marL="342900" indent="-342900">
              <a:buFont typeface="Wingdings" panose="05000000000000000000" pitchFamily="2" charset="2"/>
              <a:buChar char="ü"/>
            </a:pPr>
            <a:r>
              <a:rPr lang="it-it" sz="2000" b="1" dirty="0"/>
              <a:t>Contrasto alla bassa competenza sugli agenti: </a:t>
            </a:r>
            <a:r>
              <a:rPr lang="it-it" sz="2000" dirty="0"/>
              <a:t>la formazione mirata mitiga la mancanza di consapevolezza su quando e come utilizzare gli agenti IA nel flusso quotidiano di lavoro.</a:t>
            </a:r>
          </a:p>
          <a:p>
            <a:endParaRPr lang="en-CA" sz="2000" dirty="0"/>
          </a:p>
          <a:p>
            <a:endParaRPr lang="en-CA" sz="2000" b="1" dirty="0"/>
          </a:p>
          <a:p>
            <a:pPr marL="342900" indent="-342900">
              <a:buFont typeface="Wingdings" panose="05000000000000000000" pitchFamily="2" charset="2"/>
              <a:buChar char="ü"/>
            </a:pPr>
            <a:r>
              <a:rPr lang="it-it" sz="2000" b="1" dirty="0"/>
              <a:t>Migliore gestione del cambiamento:</a:t>
            </a:r>
            <a:r>
              <a:rPr lang="it-it" sz="2000" dirty="0"/>
              <a:t> raccolta degli use-case e delle abitudini, per favorire una rapida adozioni di soluzioni realmente efficaci.</a:t>
            </a:r>
          </a:p>
          <a:p>
            <a:pPr marL="342900" indent="-342900">
              <a:buFont typeface="Wingdings" panose="05000000000000000000" pitchFamily="2" charset="2"/>
              <a:buChar char="ü"/>
            </a:pPr>
            <a:endParaRPr lang="en-CA" sz="2000" dirty="0"/>
          </a:p>
          <a:p>
            <a:endParaRPr lang="en-CA" sz="2000" b="1" dirty="0"/>
          </a:p>
          <a:p>
            <a:pPr marL="342900" indent="-342900">
              <a:buFont typeface="Wingdings" panose="05000000000000000000" pitchFamily="2" charset="2"/>
              <a:buChar char="ü"/>
            </a:pPr>
            <a:r>
              <a:rPr lang="it-it" sz="2000" b="1" dirty="0"/>
              <a:t>Efficiente capacità organizzativa:</a:t>
            </a:r>
            <a:r>
              <a:rPr lang="it-it" sz="2000" dirty="0"/>
              <a:t> competenze distribuite e «vicine» tra colleghi, con conseguente scalabilità delle occasioni di crescita e formazione.</a:t>
            </a:r>
          </a:p>
          <a:p>
            <a:pPr algn="l"/>
            <a:endParaRPr lang="en-CA" sz="2000" dirty="0"/>
          </a:p>
        </p:txBody>
      </p:sp>
      <p:sp>
        <p:nvSpPr>
          <p:cNvPr id="20" name="Oval 19">
            <a:extLst>
              <a:ext uri="{FF2B5EF4-FFF2-40B4-BE49-F238E27FC236}">
                <a16:creationId xmlns:a16="http://schemas.microsoft.com/office/drawing/2014/main" id="{C17427B1-DA8C-5D9D-6C35-9BCD24D2BA4E}"/>
              </a:ext>
            </a:extLst>
          </p:cNvPr>
          <p:cNvSpPr>
            <a:spLocks noChangeAspect="1"/>
          </p:cNvSpPr>
          <p:nvPr/>
        </p:nvSpPr>
        <p:spPr bwMode="auto">
          <a:xfrm>
            <a:off x="342119" y="1412299"/>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1</a:t>
            </a:r>
          </a:p>
        </p:txBody>
      </p:sp>
      <p:sp>
        <p:nvSpPr>
          <p:cNvPr id="22" name="Oval 21">
            <a:extLst>
              <a:ext uri="{FF2B5EF4-FFF2-40B4-BE49-F238E27FC236}">
                <a16:creationId xmlns:a16="http://schemas.microsoft.com/office/drawing/2014/main" id="{B5A5421C-2AC1-BF4D-0681-5C77B299ACB5}"/>
              </a:ext>
            </a:extLst>
          </p:cNvPr>
          <p:cNvSpPr>
            <a:spLocks noChangeAspect="1"/>
          </p:cNvSpPr>
          <p:nvPr/>
        </p:nvSpPr>
        <p:spPr bwMode="auto">
          <a:xfrm>
            <a:off x="342119" y="2653212"/>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2</a:t>
            </a:r>
          </a:p>
        </p:txBody>
      </p:sp>
      <p:sp>
        <p:nvSpPr>
          <p:cNvPr id="24" name="Oval 23">
            <a:extLst>
              <a:ext uri="{FF2B5EF4-FFF2-40B4-BE49-F238E27FC236}">
                <a16:creationId xmlns:a16="http://schemas.microsoft.com/office/drawing/2014/main" id="{6A2E5E31-6868-F35C-ABE8-8698FE08E6A5}"/>
              </a:ext>
            </a:extLst>
          </p:cNvPr>
          <p:cNvSpPr>
            <a:spLocks noChangeAspect="1"/>
          </p:cNvSpPr>
          <p:nvPr/>
        </p:nvSpPr>
        <p:spPr bwMode="auto">
          <a:xfrm>
            <a:off x="342119" y="3833080"/>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3</a:t>
            </a:r>
          </a:p>
        </p:txBody>
      </p:sp>
    </p:spTree>
    <p:extLst>
      <p:ext uri="{BB962C8B-B14F-4D97-AF65-F5344CB8AC3E}">
        <p14:creationId xmlns:p14="http://schemas.microsoft.com/office/powerpoint/2010/main" val="35811015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D2CD5E-1F76-560C-03CC-273DCEA541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B968D0-FD28-4443-8D44-E20DC8E52D5D}"/>
              </a:ext>
            </a:extLst>
          </p:cNvPr>
          <p:cNvSpPr>
            <a:spLocks noGrp="1"/>
          </p:cNvSpPr>
          <p:nvPr>
            <p:ph type="title"/>
          </p:nvPr>
        </p:nvSpPr>
        <p:spPr>
          <a:xfrm>
            <a:off x="180561" y="2653647"/>
            <a:ext cx="8552622" cy="553998"/>
          </a:xfrm>
          <a:prstGeom prst="rect">
            <a:avLst/>
          </a:prstGeom>
        </p:spPr>
        <p:txBody>
          <a:bodyPr/>
          <a:lstStyle/>
          <a:p>
            <a:pPr lvl="0">
              <a:defRPr/>
            </a:pPr>
            <a:r>
              <a:rPr lang="it-IT" spc="-50" dirty="0">
                <a:ln w="3175">
                  <a:noFill/>
                </a:ln>
                <a:solidFill>
                  <a:schemeClr val="tx1"/>
                </a:solidFill>
                <a:latin typeface="Segoe Sans Display Semibold"/>
                <a:cs typeface="Segoe Sans Display Semibold"/>
              </a:rPr>
              <a:t>Come governare l’utilizzo degli agenti</a:t>
            </a:r>
          </a:p>
        </p:txBody>
      </p:sp>
    </p:spTree>
    <p:extLst>
      <p:ext uri="{BB962C8B-B14F-4D97-AF65-F5344CB8AC3E}">
        <p14:creationId xmlns:p14="http://schemas.microsoft.com/office/powerpoint/2010/main" val="21546433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EB82D-F74E-DC6C-4ADC-960E5DABB757}"/>
            </a:ext>
          </a:extLst>
        </p:cNvPr>
        <p:cNvGrpSpPr/>
        <p:nvPr/>
      </p:nvGrpSpPr>
      <p:grpSpPr>
        <a:xfrm>
          <a:off x="0" y="0"/>
          <a:ext cx="0" cy="0"/>
          <a:chOff x="0" y="0"/>
          <a:chExt cx="0" cy="0"/>
        </a:xfrm>
      </p:grpSpPr>
      <p:sp>
        <p:nvSpPr>
          <p:cNvPr id="3" name="Rounded Rectangle 7">
            <a:extLst>
              <a:ext uri="{FF2B5EF4-FFF2-40B4-BE49-F238E27FC236}">
                <a16:creationId xmlns:a16="http://schemas.microsoft.com/office/drawing/2014/main" id="{01B09022-163E-3BDE-1583-8E5A7799AE0C}"/>
              </a:ext>
            </a:extLst>
          </p:cNvPr>
          <p:cNvSpPr/>
          <p:nvPr/>
        </p:nvSpPr>
        <p:spPr>
          <a:xfrm>
            <a:off x="1481875" y="1755527"/>
            <a:ext cx="9228250" cy="2471872"/>
          </a:xfrm>
          <a:prstGeom prst="roundRect">
            <a:avLst>
              <a:gd name="adj" fmla="val 5226"/>
            </a:avLst>
          </a:prstGeom>
          <a:solidFill>
            <a:srgbClr val="000000">
              <a:alpha val="3529"/>
            </a:srgbClr>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none" lIns="0" tIns="0" rIns="0" bIns="70597" numCol="1" spcCol="0" rtlCol="0" fromWordArt="0" anchor="ctr" anchorCtr="0" forceAA="0" compatLnSpc="1">
            <a:prstTxWarp prst="textNoShape">
              <a:avLst/>
            </a:prstTxWarp>
            <a:noAutofit/>
          </a:bodyPr>
          <a:lstStyle/>
          <a:p>
            <a:pPr marL="0" marR="0" lvl="0" indent="0" algn="ctr" defTabSz="719918" rtl="0" eaLnBrk="1" fontAlgn="base" latinLnBrk="0" hangingPunct="1">
              <a:lnSpc>
                <a:spcPct val="90000"/>
              </a:lnSpc>
              <a:spcBef>
                <a:spcPct val="0"/>
              </a:spcBef>
              <a:spcAft>
                <a:spcPct val="0"/>
              </a:spcAft>
              <a:buClrTx/>
              <a:buSzTx/>
              <a:buFontTx/>
              <a:buNone/>
              <a:tabLst/>
              <a:defRPr/>
            </a:pPr>
            <a:endParaRPr kumimoji="0" lang="en-US" sz="5328" b="0" i="0" u="none" strike="noStrike" kern="0" cap="none" spc="-77" normalizeH="0" baseline="0" noProof="0">
              <a:ln>
                <a:noFill/>
              </a:ln>
              <a:gradFill>
                <a:gsLst>
                  <a:gs pos="0">
                    <a:srgbClr val="8DC8E8">
                      <a:lumMod val="88000"/>
                      <a:lumOff val="12000"/>
                    </a:srgbClr>
                  </a:gs>
                  <a:gs pos="100000">
                    <a:srgbClr val="49C5B1"/>
                  </a:gs>
                </a:gsLst>
                <a:lin ang="2700000" scaled="0"/>
              </a:gradFill>
              <a:effectLst/>
              <a:uLnTx/>
              <a:uFillTx/>
              <a:latin typeface="Segoe UI"/>
              <a:ea typeface="+mn-ea"/>
              <a:cs typeface="Segoe UI" pitchFamily="34" charset="0"/>
            </a:endParaRPr>
          </a:p>
        </p:txBody>
      </p:sp>
      <p:sp>
        <p:nvSpPr>
          <p:cNvPr id="9" name="Rounded Rectangle 7">
            <a:extLst>
              <a:ext uri="{FF2B5EF4-FFF2-40B4-BE49-F238E27FC236}">
                <a16:creationId xmlns:a16="http://schemas.microsoft.com/office/drawing/2014/main" id="{6C8D3317-0E9E-A221-6A51-3FA27B3122FC}"/>
              </a:ext>
            </a:extLst>
          </p:cNvPr>
          <p:cNvSpPr/>
          <p:nvPr/>
        </p:nvSpPr>
        <p:spPr>
          <a:xfrm>
            <a:off x="1481875" y="4356146"/>
            <a:ext cx="9228250" cy="1579643"/>
          </a:xfrm>
          <a:prstGeom prst="roundRect">
            <a:avLst>
              <a:gd name="adj" fmla="val 10507"/>
            </a:avLst>
          </a:prstGeom>
          <a:solidFill>
            <a:srgbClr val="000000">
              <a:alpha val="4000"/>
            </a:srgbClr>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none" lIns="0" tIns="0" rIns="0" bIns="70597" numCol="1" spcCol="0" rtlCol="0" fromWordArt="0" anchor="ctr" anchorCtr="0" forceAA="0" compatLnSpc="1">
            <a:prstTxWarp prst="textNoShape">
              <a:avLst/>
            </a:prstTxWarp>
            <a:noAutofit/>
          </a:bodyPr>
          <a:lstStyle/>
          <a:p>
            <a:pPr marL="0" marR="0" lvl="0" indent="0" algn="ctr" defTabSz="719918" rtl="0" eaLnBrk="1" fontAlgn="base" latinLnBrk="0" hangingPunct="1">
              <a:lnSpc>
                <a:spcPct val="90000"/>
              </a:lnSpc>
              <a:spcBef>
                <a:spcPct val="0"/>
              </a:spcBef>
              <a:spcAft>
                <a:spcPct val="0"/>
              </a:spcAft>
              <a:buClrTx/>
              <a:buSzTx/>
              <a:buFontTx/>
              <a:buNone/>
              <a:tabLst/>
              <a:defRPr/>
            </a:pPr>
            <a:endParaRPr kumimoji="0" lang="en-US" sz="5328" b="0" i="0" u="none" strike="noStrike" kern="0" cap="none" spc="-77" normalizeH="0" baseline="0" noProof="0">
              <a:ln>
                <a:noFill/>
              </a:ln>
              <a:gradFill>
                <a:gsLst>
                  <a:gs pos="0">
                    <a:srgbClr val="8DC8E8">
                      <a:lumMod val="88000"/>
                      <a:lumOff val="12000"/>
                    </a:srgbClr>
                  </a:gs>
                  <a:gs pos="100000">
                    <a:srgbClr val="49C5B1"/>
                  </a:gs>
                </a:gsLst>
                <a:lin ang="2700000" scaled="0"/>
              </a:gradFill>
              <a:effectLst/>
              <a:uLnTx/>
              <a:uFillTx/>
              <a:latin typeface="Segoe UI"/>
              <a:ea typeface="+mn-ea"/>
              <a:cs typeface="Segoe UI" pitchFamily="34" charset="0"/>
            </a:endParaRPr>
          </a:p>
        </p:txBody>
      </p:sp>
      <p:grpSp>
        <p:nvGrpSpPr>
          <p:cNvPr id="79" name="agent group depth. 2">
            <a:extLst>
              <a:ext uri="{FF2B5EF4-FFF2-40B4-BE49-F238E27FC236}">
                <a16:creationId xmlns:a16="http://schemas.microsoft.com/office/drawing/2014/main" id="{7C18CA28-A43C-A5B6-D1E4-4723EC129CB7}"/>
              </a:ext>
            </a:extLst>
          </p:cNvPr>
          <p:cNvGrpSpPr/>
          <p:nvPr/>
        </p:nvGrpSpPr>
        <p:grpSpPr>
          <a:xfrm>
            <a:off x="2764589" y="1974610"/>
            <a:ext cx="6746572" cy="2114000"/>
            <a:chOff x="-383601" y="1700413"/>
            <a:chExt cx="32285378" cy="10116446"/>
          </a:xfrm>
        </p:grpSpPr>
        <p:grpSp>
          <p:nvGrpSpPr>
            <p:cNvPr id="80" name="Group 79" descr="A graphic of the Agentic Web, with multicolored stars representing agents. A web of grey lines behind the stars connect them.">
              <a:extLst>
                <a:ext uri="{FF2B5EF4-FFF2-40B4-BE49-F238E27FC236}">
                  <a16:creationId xmlns:a16="http://schemas.microsoft.com/office/drawing/2014/main" id="{69D90B2E-91F7-0DF2-783A-43BE96997499}"/>
                </a:ext>
              </a:extLst>
            </p:cNvPr>
            <p:cNvGrpSpPr/>
            <p:nvPr/>
          </p:nvGrpSpPr>
          <p:grpSpPr>
            <a:xfrm>
              <a:off x="-383601" y="1981204"/>
              <a:ext cx="32285378" cy="9601196"/>
              <a:chOff x="-597159" y="821094"/>
              <a:chExt cx="21889616" cy="5206482"/>
            </a:xfrm>
          </p:grpSpPr>
          <p:sp>
            <p:nvSpPr>
              <p:cNvPr id="130" name="Freeform 129">
                <a:extLst>
                  <a:ext uri="{FF2B5EF4-FFF2-40B4-BE49-F238E27FC236}">
                    <a16:creationId xmlns:a16="http://schemas.microsoft.com/office/drawing/2014/main" id="{2A639BCA-76E1-BDF4-171B-F359A62534B3}"/>
                  </a:ext>
                </a:extLst>
              </p:cNvPr>
              <p:cNvSpPr/>
              <p:nvPr/>
            </p:nvSpPr>
            <p:spPr bwMode="auto">
              <a:xfrm>
                <a:off x="14481110" y="4236098"/>
                <a:ext cx="1306286" cy="1268963"/>
              </a:xfrm>
              <a:custGeom>
                <a:avLst/>
                <a:gdLst>
                  <a:gd name="connsiteX0" fmla="*/ 0 w 1306286"/>
                  <a:gd name="connsiteY0" fmla="*/ 298580 h 1268963"/>
                  <a:gd name="connsiteX1" fmla="*/ 1306286 w 1306286"/>
                  <a:gd name="connsiteY1" fmla="*/ 0 h 1268963"/>
                  <a:gd name="connsiteX2" fmla="*/ 765110 w 1306286"/>
                  <a:gd name="connsiteY2" fmla="*/ 1268963 h 1268963"/>
                </a:gdLst>
                <a:ahLst/>
                <a:cxnLst>
                  <a:cxn ang="0">
                    <a:pos x="connsiteX0" y="connsiteY0"/>
                  </a:cxn>
                  <a:cxn ang="0">
                    <a:pos x="connsiteX1" y="connsiteY1"/>
                  </a:cxn>
                  <a:cxn ang="0">
                    <a:pos x="connsiteX2" y="connsiteY2"/>
                  </a:cxn>
                </a:cxnLst>
                <a:rect l="l" t="t" r="r" b="b"/>
                <a:pathLst>
                  <a:path w="1306286" h="1268963">
                    <a:moveTo>
                      <a:pt x="0" y="298580"/>
                    </a:moveTo>
                    <a:lnTo>
                      <a:pt x="1306286" y="0"/>
                    </a:lnTo>
                    <a:lnTo>
                      <a:pt x="765110" y="126896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1" name="Freeform 130">
                <a:extLst>
                  <a:ext uri="{FF2B5EF4-FFF2-40B4-BE49-F238E27FC236}">
                    <a16:creationId xmlns:a16="http://schemas.microsoft.com/office/drawing/2014/main" id="{E8634AC4-E249-62CC-7C33-28B8290B638E}"/>
                  </a:ext>
                </a:extLst>
              </p:cNvPr>
              <p:cNvSpPr/>
              <p:nvPr/>
            </p:nvSpPr>
            <p:spPr bwMode="auto">
              <a:xfrm>
                <a:off x="-597159" y="2388637"/>
                <a:ext cx="1455575" cy="2593910"/>
              </a:xfrm>
              <a:custGeom>
                <a:avLst/>
                <a:gdLst>
                  <a:gd name="connsiteX0" fmla="*/ 167951 w 1455575"/>
                  <a:gd name="connsiteY0" fmla="*/ 0 h 2593910"/>
                  <a:gd name="connsiteX1" fmla="*/ 1063690 w 1455575"/>
                  <a:gd name="connsiteY1" fmla="*/ 167951 h 2593910"/>
                  <a:gd name="connsiteX2" fmla="*/ 783771 w 1455575"/>
                  <a:gd name="connsiteY2" fmla="*/ 895739 h 2593910"/>
                  <a:gd name="connsiteX3" fmla="*/ 0 w 1455575"/>
                  <a:gd name="connsiteY3" fmla="*/ 1063690 h 2593910"/>
                  <a:gd name="connsiteX4" fmla="*/ 298579 w 1455575"/>
                  <a:gd name="connsiteY4" fmla="*/ 2593910 h 2593910"/>
                  <a:gd name="connsiteX5" fmla="*/ 1455575 w 1455575"/>
                  <a:gd name="connsiteY5" fmla="*/ 2146041 h 2593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575" h="2593910">
                    <a:moveTo>
                      <a:pt x="167951" y="0"/>
                    </a:moveTo>
                    <a:lnTo>
                      <a:pt x="1063690" y="167951"/>
                    </a:lnTo>
                    <a:lnTo>
                      <a:pt x="783771" y="895739"/>
                    </a:lnTo>
                    <a:lnTo>
                      <a:pt x="0" y="1063690"/>
                    </a:lnTo>
                    <a:lnTo>
                      <a:pt x="298579" y="2593910"/>
                    </a:lnTo>
                    <a:lnTo>
                      <a:pt x="1455575" y="2146041"/>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2" name="Freeform 131">
                <a:extLst>
                  <a:ext uri="{FF2B5EF4-FFF2-40B4-BE49-F238E27FC236}">
                    <a16:creationId xmlns:a16="http://schemas.microsoft.com/office/drawing/2014/main" id="{5651DD76-EA4B-B420-CD6F-C36A6B5AD4F2}"/>
                  </a:ext>
                </a:extLst>
              </p:cNvPr>
              <p:cNvSpPr/>
              <p:nvPr/>
            </p:nvSpPr>
            <p:spPr bwMode="auto">
              <a:xfrm>
                <a:off x="19239722" y="3097763"/>
                <a:ext cx="2052735" cy="2463282"/>
              </a:xfrm>
              <a:custGeom>
                <a:avLst/>
                <a:gdLst>
                  <a:gd name="connsiteX0" fmla="*/ 2052735 w 2052735"/>
                  <a:gd name="connsiteY0" fmla="*/ 0 h 2463282"/>
                  <a:gd name="connsiteX1" fmla="*/ 877078 w 2052735"/>
                  <a:gd name="connsiteY1" fmla="*/ 93306 h 2463282"/>
                  <a:gd name="connsiteX2" fmla="*/ 0 w 2052735"/>
                  <a:gd name="connsiteY2" fmla="*/ 2220686 h 2463282"/>
                  <a:gd name="connsiteX3" fmla="*/ 1754156 w 2052735"/>
                  <a:gd name="connsiteY3" fmla="*/ 2463282 h 2463282"/>
                </a:gdLst>
                <a:ahLst/>
                <a:cxnLst>
                  <a:cxn ang="0">
                    <a:pos x="connsiteX0" y="connsiteY0"/>
                  </a:cxn>
                  <a:cxn ang="0">
                    <a:pos x="connsiteX1" y="connsiteY1"/>
                  </a:cxn>
                  <a:cxn ang="0">
                    <a:pos x="connsiteX2" y="connsiteY2"/>
                  </a:cxn>
                  <a:cxn ang="0">
                    <a:pos x="connsiteX3" y="connsiteY3"/>
                  </a:cxn>
                </a:cxnLst>
                <a:rect l="l" t="t" r="r" b="b"/>
                <a:pathLst>
                  <a:path w="2052735" h="2463282">
                    <a:moveTo>
                      <a:pt x="2052735" y="0"/>
                    </a:moveTo>
                    <a:lnTo>
                      <a:pt x="877078" y="93306"/>
                    </a:lnTo>
                    <a:lnTo>
                      <a:pt x="0" y="2220686"/>
                    </a:lnTo>
                    <a:lnTo>
                      <a:pt x="1754156" y="2463282"/>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3" name="Freeform 132">
                <a:extLst>
                  <a:ext uri="{FF2B5EF4-FFF2-40B4-BE49-F238E27FC236}">
                    <a16:creationId xmlns:a16="http://schemas.microsoft.com/office/drawing/2014/main" id="{8FD1406B-4053-79CC-BA22-F3487F0E6812}"/>
                  </a:ext>
                </a:extLst>
              </p:cNvPr>
              <p:cNvSpPr/>
              <p:nvPr/>
            </p:nvSpPr>
            <p:spPr bwMode="auto">
              <a:xfrm>
                <a:off x="6438122" y="839755"/>
                <a:ext cx="2817845" cy="3694923"/>
              </a:xfrm>
              <a:custGeom>
                <a:avLst/>
                <a:gdLst>
                  <a:gd name="connsiteX0" fmla="*/ 2817845 w 2817845"/>
                  <a:gd name="connsiteY0" fmla="*/ 0 h 3694923"/>
                  <a:gd name="connsiteX1" fmla="*/ 877078 w 2817845"/>
                  <a:gd name="connsiteY1" fmla="*/ 1530221 h 3694923"/>
                  <a:gd name="connsiteX2" fmla="*/ 2108719 w 2817845"/>
                  <a:gd name="connsiteY2" fmla="*/ 1250302 h 3694923"/>
                  <a:gd name="connsiteX3" fmla="*/ 0 w 2817845"/>
                  <a:gd name="connsiteY3" fmla="*/ 2202025 h 3694923"/>
                  <a:gd name="connsiteX4" fmla="*/ 2164702 w 2817845"/>
                  <a:gd name="connsiteY4" fmla="*/ 2481943 h 3694923"/>
                  <a:gd name="connsiteX5" fmla="*/ 1026368 w 2817845"/>
                  <a:gd name="connsiteY5" fmla="*/ 3116425 h 3694923"/>
                  <a:gd name="connsiteX6" fmla="*/ 503854 w 2817845"/>
                  <a:gd name="connsiteY6" fmla="*/ 3694923 h 369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7845" h="3694923">
                    <a:moveTo>
                      <a:pt x="2817845" y="0"/>
                    </a:moveTo>
                    <a:lnTo>
                      <a:pt x="877078" y="1530221"/>
                    </a:lnTo>
                    <a:lnTo>
                      <a:pt x="2108719" y="1250302"/>
                    </a:lnTo>
                    <a:lnTo>
                      <a:pt x="0" y="2202025"/>
                    </a:lnTo>
                    <a:lnTo>
                      <a:pt x="2164702" y="2481943"/>
                    </a:lnTo>
                    <a:lnTo>
                      <a:pt x="1026368" y="3116425"/>
                    </a:lnTo>
                    <a:lnTo>
                      <a:pt x="503854" y="369492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4" name="Freeform 133">
                <a:extLst>
                  <a:ext uri="{FF2B5EF4-FFF2-40B4-BE49-F238E27FC236}">
                    <a16:creationId xmlns:a16="http://schemas.microsoft.com/office/drawing/2014/main" id="{C8B061B1-925A-5C03-F2D6-863AD86D83B8}"/>
                  </a:ext>
                </a:extLst>
              </p:cNvPr>
              <p:cNvSpPr/>
              <p:nvPr/>
            </p:nvSpPr>
            <p:spPr bwMode="auto">
              <a:xfrm>
                <a:off x="3377682" y="2388637"/>
                <a:ext cx="3060440" cy="3638939"/>
              </a:xfrm>
              <a:custGeom>
                <a:avLst/>
                <a:gdLst>
                  <a:gd name="connsiteX0" fmla="*/ 317240 w 3060440"/>
                  <a:gd name="connsiteY0" fmla="*/ 839755 h 3638939"/>
                  <a:gd name="connsiteX1" fmla="*/ 1194318 w 3060440"/>
                  <a:gd name="connsiteY1" fmla="*/ 298579 h 3638939"/>
                  <a:gd name="connsiteX2" fmla="*/ 2444620 w 3060440"/>
                  <a:gd name="connsiteY2" fmla="*/ 0 h 3638939"/>
                  <a:gd name="connsiteX3" fmla="*/ 1343608 w 3060440"/>
                  <a:gd name="connsiteY3" fmla="*/ 1810139 h 3638939"/>
                  <a:gd name="connsiteX4" fmla="*/ 466530 w 3060440"/>
                  <a:gd name="connsiteY4" fmla="*/ 877077 h 3638939"/>
                  <a:gd name="connsiteX5" fmla="*/ 0 w 3060440"/>
                  <a:gd name="connsiteY5" fmla="*/ 1623526 h 3638939"/>
                  <a:gd name="connsiteX6" fmla="*/ 3060440 w 3060440"/>
                  <a:gd name="connsiteY6" fmla="*/ 3638939 h 363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0440" h="3638939">
                    <a:moveTo>
                      <a:pt x="317240" y="839755"/>
                    </a:moveTo>
                    <a:lnTo>
                      <a:pt x="1194318" y="298579"/>
                    </a:lnTo>
                    <a:lnTo>
                      <a:pt x="2444620" y="0"/>
                    </a:lnTo>
                    <a:lnTo>
                      <a:pt x="1343608" y="1810139"/>
                    </a:lnTo>
                    <a:lnTo>
                      <a:pt x="466530" y="877077"/>
                    </a:lnTo>
                    <a:lnTo>
                      <a:pt x="0" y="1623526"/>
                    </a:lnTo>
                    <a:lnTo>
                      <a:pt x="3060440" y="36389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5" name="Freeform 134">
                <a:extLst>
                  <a:ext uri="{FF2B5EF4-FFF2-40B4-BE49-F238E27FC236}">
                    <a16:creationId xmlns:a16="http://schemas.microsoft.com/office/drawing/2014/main" id="{37D2EFCA-4DD0-7310-21FE-2FF772A64E94}"/>
                  </a:ext>
                </a:extLst>
              </p:cNvPr>
              <p:cNvSpPr/>
              <p:nvPr/>
            </p:nvSpPr>
            <p:spPr bwMode="auto">
              <a:xfrm>
                <a:off x="1324947" y="1399592"/>
                <a:ext cx="2313992" cy="1343608"/>
              </a:xfrm>
              <a:custGeom>
                <a:avLst/>
                <a:gdLst>
                  <a:gd name="connsiteX0" fmla="*/ 0 w 2313992"/>
                  <a:gd name="connsiteY0" fmla="*/ 1007706 h 1343608"/>
                  <a:gd name="connsiteX1" fmla="*/ 1045029 w 2313992"/>
                  <a:gd name="connsiteY1" fmla="*/ 1343608 h 1343608"/>
                  <a:gd name="connsiteX2" fmla="*/ 2108718 w 2313992"/>
                  <a:gd name="connsiteY2" fmla="*/ 0 h 1343608"/>
                  <a:gd name="connsiteX3" fmla="*/ 2108718 w 2313992"/>
                  <a:gd name="connsiteY3" fmla="*/ 0 h 1343608"/>
                  <a:gd name="connsiteX4" fmla="*/ 2313992 w 2313992"/>
                  <a:gd name="connsiteY4" fmla="*/ 653143 h 1343608"/>
                  <a:gd name="connsiteX5" fmla="*/ 1082351 w 2313992"/>
                  <a:gd name="connsiteY5" fmla="*/ 1324947 h 134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3992" h="1343608">
                    <a:moveTo>
                      <a:pt x="0" y="1007706"/>
                    </a:moveTo>
                    <a:lnTo>
                      <a:pt x="1045029" y="1343608"/>
                    </a:lnTo>
                    <a:lnTo>
                      <a:pt x="2108718" y="0"/>
                    </a:lnTo>
                    <a:lnTo>
                      <a:pt x="2108718" y="0"/>
                    </a:lnTo>
                    <a:lnTo>
                      <a:pt x="2313992" y="653143"/>
                    </a:lnTo>
                    <a:lnTo>
                      <a:pt x="1082351" y="1324947"/>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135">
                <a:extLst>
                  <a:ext uri="{FF2B5EF4-FFF2-40B4-BE49-F238E27FC236}">
                    <a16:creationId xmlns:a16="http://schemas.microsoft.com/office/drawing/2014/main" id="{4C68EB49-C29A-58A7-47DF-5437424FAD90}"/>
                  </a:ext>
                </a:extLst>
              </p:cNvPr>
              <p:cNvSpPr/>
              <p:nvPr/>
            </p:nvSpPr>
            <p:spPr bwMode="auto">
              <a:xfrm>
                <a:off x="447869" y="2090057"/>
                <a:ext cx="6064898" cy="3881535"/>
              </a:xfrm>
              <a:custGeom>
                <a:avLst/>
                <a:gdLst>
                  <a:gd name="connsiteX0" fmla="*/ 6064898 w 6064898"/>
                  <a:gd name="connsiteY0" fmla="*/ 3881535 h 3881535"/>
                  <a:gd name="connsiteX1" fmla="*/ 4348066 w 6064898"/>
                  <a:gd name="connsiteY1" fmla="*/ 2164702 h 3881535"/>
                  <a:gd name="connsiteX2" fmla="*/ 6027576 w 6064898"/>
                  <a:gd name="connsiteY2" fmla="*/ 989045 h 3881535"/>
                  <a:gd name="connsiteX3" fmla="*/ 6027576 w 6064898"/>
                  <a:gd name="connsiteY3" fmla="*/ 186612 h 3881535"/>
                  <a:gd name="connsiteX4" fmla="*/ 5299788 w 6064898"/>
                  <a:gd name="connsiteY4" fmla="*/ 317241 h 3881535"/>
                  <a:gd name="connsiteX5" fmla="*/ 3209731 w 6064898"/>
                  <a:gd name="connsiteY5" fmla="*/ 0 h 3881535"/>
                  <a:gd name="connsiteX6" fmla="*/ 3359021 w 6064898"/>
                  <a:gd name="connsiteY6" fmla="*/ 1119674 h 3881535"/>
                  <a:gd name="connsiteX7" fmla="*/ 317241 w 6064898"/>
                  <a:gd name="connsiteY7" fmla="*/ 2463282 h 3881535"/>
                  <a:gd name="connsiteX8" fmla="*/ 1306286 w 6064898"/>
                  <a:gd name="connsiteY8" fmla="*/ 1287625 h 3881535"/>
                  <a:gd name="connsiteX9" fmla="*/ 0 w 6064898"/>
                  <a:gd name="connsiteY9" fmla="*/ 466531 h 3881535"/>
                  <a:gd name="connsiteX10" fmla="*/ 858417 w 6064898"/>
                  <a:gd name="connsiteY10" fmla="*/ 354563 h 3881535"/>
                  <a:gd name="connsiteX11" fmla="*/ 1268964 w 6064898"/>
                  <a:gd name="connsiteY11" fmla="*/ 1250302 h 388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64898" h="3881535">
                    <a:moveTo>
                      <a:pt x="6064898" y="3881535"/>
                    </a:moveTo>
                    <a:lnTo>
                      <a:pt x="4348066" y="2164702"/>
                    </a:lnTo>
                    <a:lnTo>
                      <a:pt x="6027576" y="989045"/>
                    </a:lnTo>
                    <a:lnTo>
                      <a:pt x="6027576" y="186612"/>
                    </a:lnTo>
                    <a:lnTo>
                      <a:pt x="5299788" y="317241"/>
                    </a:lnTo>
                    <a:lnTo>
                      <a:pt x="3209731" y="0"/>
                    </a:lnTo>
                    <a:lnTo>
                      <a:pt x="3359021" y="1119674"/>
                    </a:lnTo>
                    <a:lnTo>
                      <a:pt x="317241" y="2463282"/>
                    </a:lnTo>
                    <a:lnTo>
                      <a:pt x="1306286" y="1287625"/>
                    </a:lnTo>
                    <a:lnTo>
                      <a:pt x="0" y="466531"/>
                    </a:lnTo>
                    <a:lnTo>
                      <a:pt x="858417" y="354563"/>
                    </a:lnTo>
                    <a:lnTo>
                      <a:pt x="1268964" y="1250302"/>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7" name="Freeform 136">
                <a:extLst>
                  <a:ext uri="{FF2B5EF4-FFF2-40B4-BE49-F238E27FC236}">
                    <a16:creationId xmlns:a16="http://schemas.microsoft.com/office/drawing/2014/main" id="{85985972-F248-48CF-01D1-2A5D77F6DA17}"/>
                  </a:ext>
                </a:extLst>
              </p:cNvPr>
              <p:cNvSpPr/>
              <p:nvPr/>
            </p:nvSpPr>
            <p:spPr bwMode="auto">
              <a:xfrm>
                <a:off x="6531429" y="2239347"/>
                <a:ext cx="14481110" cy="3769567"/>
              </a:xfrm>
              <a:custGeom>
                <a:avLst/>
                <a:gdLst>
                  <a:gd name="connsiteX0" fmla="*/ 14481110 w 14481110"/>
                  <a:gd name="connsiteY0" fmla="*/ 0 h 3769567"/>
                  <a:gd name="connsiteX1" fmla="*/ 11961844 w 14481110"/>
                  <a:gd name="connsiteY1" fmla="*/ 895739 h 3769567"/>
                  <a:gd name="connsiteX2" fmla="*/ 10599575 w 14481110"/>
                  <a:gd name="connsiteY2" fmla="*/ 989045 h 3769567"/>
                  <a:gd name="connsiteX3" fmla="*/ 9050693 w 14481110"/>
                  <a:gd name="connsiteY3" fmla="*/ 914400 h 3769567"/>
                  <a:gd name="connsiteX4" fmla="*/ 6699379 w 14481110"/>
                  <a:gd name="connsiteY4" fmla="*/ 1212980 h 3769567"/>
                  <a:gd name="connsiteX5" fmla="*/ 6736702 w 14481110"/>
                  <a:gd name="connsiteY5" fmla="*/ 2052735 h 3769567"/>
                  <a:gd name="connsiteX6" fmla="*/ 5710334 w 14481110"/>
                  <a:gd name="connsiteY6" fmla="*/ 2799184 h 3769567"/>
                  <a:gd name="connsiteX7" fmla="*/ 6736702 w 14481110"/>
                  <a:gd name="connsiteY7" fmla="*/ 1212980 h 3769567"/>
                  <a:gd name="connsiteX8" fmla="*/ 4348065 w 14481110"/>
                  <a:gd name="connsiteY8" fmla="*/ 1660849 h 3769567"/>
                  <a:gd name="connsiteX9" fmla="*/ 3750906 w 14481110"/>
                  <a:gd name="connsiteY9" fmla="*/ 3321698 h 3769567"/>
                  <a:gd name="connsiteX10" fmla="*/ 5710334 w 14481110"/>
                  <a:gd name="connsiteY10" fmla="*/ 2761861 h 3769567"/>
                  <a:gd name="connsiteX11" fmla="*/ 3097763 w 14481110"/>
                  <a:gd name="connsiteY11" fmla="*/ 1474237 h 3769567"/>
                  <a:gd name="connsiteX12" fmla="*/ 0 w 14481110"/>
                  <a:gd name="connsiteY12" fmla="*/ 3769567 h 3769567"/>
                  <a:gd name="connsiteX13" fmla="*/ 2575249 w 14481110"/>
                  <a:gd name="connsiteY13" fmla="*/ 2313992 h 3769567"/>
                  <a:gd name="connsiteX14" fmla="*/ 3676261 w 14481110"/>
                  <a:gd name="connsiteY14" fmla="*/ 3247053 h 376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81110" h="3769567">
                    <a:moveTo>
                      <a:pt x="14481110" y="0"/>
                    </a:moveTo>
                    <a:lnTo>
                      <a:pt x="11961844" y="895739"/>
                    </a:lnTo>
                    <a:lnTo>
                      <a:pt x="10599575" y="989045"/>
                    </a:lnTo>
                    <a:lnTo>
                      <a:pt x="9050693" y="914400"/>
                    </a:lnTo>
                    <a:lnTo>
                      <a:pt x="6699379" y="1212980"/>
                    </a:lnTo>
                    <a:lnTo>
                      <a:pt x="6736702" y="2052735"/>
                    </a:lnTo>
                    <a:lnTo>
                      <a:pt x="5710334" y="2799184"/>
                    </a:lnTo>
                    <a:lnTo>
                      <a:pt x="6736702" y="1212980"/>
                    </a:lnTo>
                    <a:lnTo>
                      <a:pt x="4348065" y="1660849"/>
                    </a:lnTo>
                    <a:lnTo>
                      <a:pt x="3750906" y="3321698"/>
                    </a:lnTo>
                    <a:lnTo>
                      <a:pt x="5710334" y="2761861"/>
                    </a:lnTo>
                    <a:lnTo>
                      <a:pt x="3097763" y="1474237"/>
                    </a:lnTo>
                    <a:lnTo>
                      <a:pt x="0" y="3769567"/>
                    </a:lnTo>
                    <a:lnTo>
                      <a:pt x="2575249" y="2313992"/>
                    </a:lnTo>
                    <a:lnTo>
                      <a:pt x="3676261" y="324705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137">
                <a:extLst>
                  <a:ext uri="{FF2B5EF4-FFF2-40B4-BE49-F238E27FC236}">
                    <a16:creationId xmlns:a16="http://schemas.microsoft.com/office/drawing/2014/main" id="{39949C82-200E-5CA0-1270-5BF92845C221}"/>
                  </a:ext>
                </a:extLst>
              </p:cNvPr>
              <p:cNvSpPr/>
              <p:nvPr/>
            </p:nvSpPr>
            <p:spPr bwMode="auto">
              <a:xfrm>
                <a:off x="-186612" y="821094"/>
                <a:ext cx="20266090" cy="5169159"/>
              </a:xfrm>
              <a:custGeom>
                <a:avLst/>
                <a:gdLst>
                  <a:gd name="connsiteX0" fmla="*/ 0 w 20266090"/>
                  <a:gd name="connsiteY0" fmla="*/ 1101012 h 5169159"/>
                  <a:gd name="connsiteX1" fmla="*/ 1511559 w 20266090"/>
                  <a:gd name="connsiteY1" fmla="*/ 1642188 h 5169159"/>
                  <a:gd name="connsiteX2" fmla="*/ 3732245 w 20266090"/>
                  <a:gd name="connsiteY2" fmla="*/ 522514 h 5169159"/>
                  <a:gd name="connsiteX3" fmla="*/ 5952930 w 20266090"/>
                  <a:gd name="connsiteY3" fmla="*/ 1604865 h 5169159"/>
                  <a:gd name="connsiteX4" fmla="*/ 6643396 w 20266090"/>
                  <a:gd name="connsiteY4" fmla="*/ 2220686 h 5169159"/>
                  <a:gd name="connsiteX5" fmla="*/ 6400800 w 20266090"/>
                  <a:gd name="connsiteY5" fmla="*/ 3452326 h 5169159"/>
                  <a:gd name="connsiteX6" fmla="*/ 5001208 w 20266090"/>
                  <a:gd name="connsiteY6" fmla="*/ 3433665 h 5169159"/>
                  <a:gd name="connsiteX7" fmla="*/ 3564294 w 20266090"/>
                  <a:gd name="connsiteY7" fmla="*/ 3228392 h 5169159"/>
                  <a:gd name="connsiteX8" fmla="*/ 1007706 w 20266090"/>
                  <a:gd name="connsiteY8" fmla="*/ 3732245 h 5169159"/>
                  <a:gd name="connsiteX9" fmla="*/ 391885 w 20266090"/>
                  <a:gd name="connsiteY9" fmla="*/ 2444620 h 5169159"/>
                  <a:gd name="connsiteX10" fmla="*/ 1884783 w 20266090"/>
                  <a:gd name="connsiteY10" fmla="*/ 2593910 h 5169159"/>
                  <a:gd name="connsiteX11" fmla="*/ 2500604 w 20266090"/>
                  <a:gd name="connsiteY11" fmla="*/ 1922106 h 5169159"/>
                  <a:gd name="connsiteX12" fmla="*/ 3993502 w 20266090"/>
                  <a:gd name="connsiteY12" fmla="*/ 2425959 h 5169159"/>
                  <a:gd name="connsiteX13" fmla="*/ 6662057 w 20266090"/>
                  <a:gd name="connsiteY13" fmla="*/ 2239347 h 5169159"/>
                  <a:gd name="connsiteX14" fmla="*/ 7613779 w 20266090"/>
                  <a:gd name="connsiteY14" fmla="*/ 1530220 h 5169159"/>
                  <a:gd name="connsiteX15" fmla="*/ 6662057 w 20266090"/>
                  <a:gd name="connsiteY15" fmla="*/ 1455575 h 5169159"/>
                  <a:gd name="connsiteX16" fmla="*/ 9386596 w 20266090"/>
                  <a:gd name="connsiteY16" fmla="*/ 18661 h 5169159"/>
                  <a:gd name="connsiteX17" fmla="*/ 8714792 w 20266090"/>
                  <a:gd name="connsiteY17" fmla="*/ 1287624 h 5169159"/>
                  <a:gd name="connsiteX18" fmla="*/ 7651102 w 20266090"/>
                  <a:gd name="connsiteY18" fmla="*/ 3135086 h 5169159"/>
                  <a:gd name="connsiteX19" fmla="*/ 6680718 w 20266090"/>
                  <a:gd name="connsiteY19" fmla="*/ 2239347 h 5169159"/>
                  <a:gd name="connsiteX20" fmla="*/ 7109926 w 20266090"/>
                  <a:gd name="connsiteY20" fmla="*/ 3769567 h 5169159"/>
                  <a:gd name="connsiteX21" fmla="*/ 6680718 w 20266090"/>
                  <a:gd name="connsiteY21" fmla="*/ 5169159 h 5169159"/>
                  <a:gd name="connsiteX22" fmla="*/ 6400800 w 20266090"/>
                  <a:gd name="connsiteY22" fmla="*/ 3452326 h 5169159"/>
                  <a:gd name="connsiteX23" fmla="*/ 7091265 w 20266090"/>
                  <a:gd name="connsiteY23" fmla="*/ 3769567 h 5169159"/>
                  <a:gd name="connsiteX24" fmla="*/ 9797143 w 20266090"/>
                  <a:gd name="connsiteY24" fmla="*/ 2873828 h 5169159"/>
                  <a:gd name="connsiteX25" fmla="*/ 9274628 w 20266090"/>
                  <a:gd name="connsiteY25" fmla="*/ 3732245 h 5169159"/>
                  <a:gd name="connsiteX26" fmla="*/ 12465698 w 20266090"/>
                  <a:gd name="connsiteY26" fmla="*/ 4217437 h 5169159"/>
                  <a:gd name="connsiteX27" fmla="*/ 11122090 w 20266090"/>
                  <a:gd name="connsiteY27" fmla="*/ 3041779 h 5169159"/>
                  <a:gd name="connsiteX28" fmla="*/ 9815804 w 20266090"/>
                  <a:gd name="connsiteY28" fmla="*/ 2911151 h 5169159"/>
                  <a:gd name="connsiteX29" fmla="*/ 12092473 w 20266090"/>
                  <a:gd name="connsiteY29" fmla="*/ 2444620 h 5169159"/>
                  <a:gd name="connsiteX30" fmla="*/ 13566710 w 20266090"/>
                  <a:gd name="connsiteY30" fmla="*/ 1810139 h 5169159"/>
                  <a:gd name="connsiteX31" fmla="*/ 16272588 w 20266090"/>
                  <a:gd name="connsiteY31" fmla="*/ 895739 h 5169159"/>
                  <a:gd name="connsiteX32" fmla="*/ 18773192 w 20266090"/>
                  <a:gd name="connsiteY32" fmla="*/ 2276669 h 5169159"/>
                  <a:gd name="connsiteX33" fmla="*/ 19127755 w 20266090"/>
                  <a:gd name="connsiteY33" fmla="*/ 2967135 h 5169159"/>
                  <a:gd name="connsiteX34" fmla="*/ 19426334 w 20266090"/>
                  <a:gd name="connsiteY34" fmla="*/ 4478694 h 5169159"/>
                  <a:gd name="connsiteX35" fmla="*/ 18325322 w 20266090"/>
                  <a:gd name="connsiteY35" fmla="*/ 3228392 h 5169159"/>
                  <a:gd name="connsiteX36" fmla="*/ 19146416 w 20266090"/>
                  <a:gd name="connsiteY36" fmla="*/ 3004457 h 5169159"/>
                  <a:gd name="connsiteX37" fmla="*/ 20266090 w 20266090"/>
                  <a:gd name="connsiteY37" fmla="*/ 2369975 h 5169159"/>
                  <a:gd name="connsiteX38" fmla="*/ 18717208 w 20266090"/>
                  <a:gd name="connsiteY38" fmla="*/ 2220686 h 5169159"/>
                  <a:gd name="connsiteX39" fmla="*/ 18306661 w 20266090"/>
                  <a:gd name="connsiteY39" fmla="*/ 3172408 h 5169159"/>
                  <a:gd name="connsiteX40" fmla="*/ 17354939 w 20266090"/>
                  <a:gd name="connsiteY40" fmla="*/ 2425959 h 5169159"/>
                  <a:gd name="connsiteX41" fmla="*/ 16272588 w 20266090"/>
                  <a:gd name="connsiteY41" fmla="*/ 858416 h 5169159"/>
                  <a:gd name="connsiteX42" fmla="*/ 15787396 w 20266090"/>
                  <a:gd name="connsiteY42" fmla="*/ 2276669 h 5169159"/>
                  <a:gd name="connsiteX43" fmla="*/ 14518432 w 20266090"/>
                  <a:gd name="connsiteY43" fmla="*/ 2220686 h 5169159"/>
                  <a:gd name="connsiteX44" fmla="*/ 13604032 w 20266090"/>
                  <a:gd name="connsiteY44" fmla="*/ 1772816 h 5169159"/>
                  <a:gd name="connsiteX45" fmla="*/ 13417420 w 20266090"/>
                  <a:gd name="connsiteY45" fmla="*/ 2687216 h 5169159"/>
                  <a:gd name="connsiteX46" fmla="*/ 12185779 w 20266090"/>
                  <a:gd name="connsiteY46" fmla="*/ 2407298 h 5169159"/>
                  <a:gd name="connsiteX47" fmla="*/ 10767526 w 20266090"/>
                  <a:gd name="connsiteY47" fmla="*/ 1660849 h 5169159"/>
                  <a:gd name="connsiteX48" fmla="*/ 9778481 w 20266090"/>
                  <a:gd name="connsiteY48" fmla="*/ 2873828 h 5169159"/>
                  <a:gd name="connsiteX49" fmla="*/ 8733453 w 20266090"/>
                  <a:gd name="connsiteY49" fmla="*/ 2481943 h 5169159"/>
                  <a:gd name="connsiteX50" fmla="*/ 8733453 w 20266090"/>
                  <a:gd name="connsiteY50" fmla="*/ 1250302 h 5169159"/>
                  <a:gd name="connsiteX51" fmla="*/ 9815804 w 20266090"/>
                  <a:gd name="connsiteY51" fmla="*/ 2873828 h 5169159"/>
                  <a:gd name="connsiteX52" fmla="*/ 9367934 w 20266090"/>
                  <a:gd name="connsiteY52" fmla="*/ 0 h 5169159"/>
                  <a:gd name="connsiteX53" fmla="*/ 10804849 w 20266090"/>
                  <a:gd name="connsiteY53" fmla="*/ 1660849 h 5169159"/>
                  <a:gd name="connsiteX54" fmla="*/ 13585371 w 20266090"/>
                  <a:gd name="connsiteY54" fmla="*/ 1791477 h 5169159"/>
                  <a:gd name="connsiteX55" fmla="*/ 11532636 w 20266090"/>
                  <a:gd name="connsiteY55" fmla="*/ 1399592 h 5169159"/>
                  <a:gd name="connsiteX56" fmla="*/ 9367934 w 20266090"/>
                  <a:gd name="connsiteY56" fmla="*/ 18661 h 5169159"/>
                  <a:gd name="connsiteX57" fmla="*/ 13604032 w 20266090"/>
                  <a:gd name="connsiteY57" fmla="*/ 1810139 h 516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0266090" h="5169159">
                    <a:moveTo>
                      <a:pt x="0" y="1101012"/>
                    </a:moveTo>
                    <a:lnTo>
                      <a:pt x="1511559" y="1642188"/>
                    </a:lnTo>
                    <a:lnTo>
                      <a:pt x="3732245" y="522514"/>
                    </a:lnTo>
                    <a:lnTo>
                      <a:pt x="5952930" y="1604865"/>
                    </a:lnTo>
                    <a:lnTo>
                      <a:pt x="6643396" y="2220686"/>
                    </a:lnTo>
                    <a:lnTo>
                      <a:pt x="6400800" y="3452326"/>
                    </a:lnTo>
                    <a:lnTo>
                      <a:pt x="5001208" y="3433665"/>
                    </a:lnTo>
                    <a:lnTo>
                      <a:pt x="3564294" y="3228392"/>
                    </a:lnTo>
                    <a:lnTo>
                      <a:pt x="1007706" y="3732245"/>
                    </a:lnTo>
                    <a:lnTo>
                      <a:pt x="391885" y="2444620"/>
                    </a:lnTo>
                    <a:lnTo>
                      <a:pt x="1884783" y="2593910"/>
                    </a:lnTo>
                    <a:lnTo>
                      <a:pt x="2500604" y="1922106"/>
                    </a:lnTo>
                    <a:lnTo>
                      <a:pt x="3993502" y="2425959"/>
                    </a:lnTo>
                    <a:lnTo>
                      <a:pt x="6662057" y="2239347"/>
                    </a:lnTo>
                    <a:lnTo>
                      <a:pt x="7613779" y="1530220"/>
                    </a:lnTo>
                    <a:lnTo>
                      <a:pt x="6662057" y="1455575"/>
                    </a:lnTo>
                    <a:lnTo>
                      <a:pt x="9386596" y="18661"/>
                    </a:lnTo>
                    <a:lnTo>
                      <a:pt x="8714792" y="1287624"/>
                    </a:lnTo>
                    <a:lnTo>
                      <a:pt x="7651102" y="3135086"/>
                    </a:lnTo>
                    <a:lnTo>
                      <a:pt x="6680718" y="2239347"/>
                    </a:lnTo>
                    <a:lnTo>
                      <a:pt x="7109926" y="3769567"/>
                    </a:lnTo>
                    <a:lnTo>
                      <a:pt x="6680718" y="5169159"/>
                    </a:lnTo>
                    <a:lnTo>
                      <a:pt x="6400800" y="3452326"/>
                    </a:lnTo>
                    <a:lnTo>
                      <a:pt x="7091265" y="3769567"/>
                    </a:lnTo>
                    <a:lnTo>
                      <a:pt x="9797143" y="2873828"/>
                    </a:lnTo>
                    <a:lnTo>
                      <a:pt x="9274628" y="3732245"/>
                    </a:lnTo>
                    <a:lnTo>
                      <a:pt x="12465698" y="4217437"/>
                    </a:lnTo>
                    <a:lnTo>
                      <a:pt x="11122090" y="3041779"/>
                    </a:lnTo>
                    <a:lnTo>
                      <a:pt x="9815804" y="2911151"/>
                    </a:lnTo>
                    <a:lnTo>
                      <a:pt x="12092473" y="2444620"/>
                    </a:lnTo>
                    <a:lnTo>
                      <a:pt x="13566710" y="1810139"/>
                    </a:lnTo>
                    <a:lnTo>
                      <a:pt x="16272588" y="895739"/>
                    </a:lnTo>
                    <a:lnTo>
                      <a:pt x="18773192" y="2276669"/>
                    </a:lnTo>
                    <a:lnTo>
                      <a:pt x="19127755" y="2967135"/>
                    </a:lnTo>
                    <a:lnTo>
                      <a:pt x="19426334" y="4478694"/>
                    </a:lnTo>
                    <a:lnTo>
                      <a:pt x="18325322" y="3228392"/>
                    </a:lnTo>
                    <a:lnTo>
                      <a:pt x="19146416" y="3004457"/>
                    </a:lnTo>
                    <a:lnTo>
                      <a:pt x="20266090" y="2369975"/>
                    </a:lnTo>
                    <a:lnTo>
                      <a:pt x="18717208" y="2220686"/>
                    </a:lnTo>
                    <a:lnTo>
                      <a:pt x="18306661" y="3172408"/>
                    </a:lnTo>
                    <a:lnTo>
                      <a:pt x="17354939" y="2425959"/>
                    </a:lnTo>
                    <a:lnTo>
                      <a:pt x="16272588" y="858416"/>
                    </a:lnTo>
                    <a:lnTo>
                      <a:pt x="15787396" y="2276669"/>
                    </a:lnTo>
                    <a:lnTo>
                      <a:pt x="14518432" y="2220686"/>
                    </a:lnTo>
                    <a:lnTo>
                      <a:pt x="13604032" y="1772816"/>
                    </a:lnTo>
                    <a:lnTo>
                      <a:pt x="13417420" y="2687216"/>
                    </a:lnTo>
                    <a:lnTo>
                      <a:pt x="12185779" y="2407298"/>
                    </a:lnTo>
                    <a:lnTo>
                      <a:pt x="10767526" y="1660849"/>
                    </a:lnTo>
                    <a:lnTo>
                      <a:pt x="9778481" y="2873828"/>
                    </a:lnTo>
                    <a:lnTo>
                      <a:pt x="8733453" y="2481943"/>
                    </a:lnTo>
                    <a:lnTo>
                      <a:pt x="8733453" y="1250302"/>
                    </a:lnTo>
                    <a:lnTo>
                      <a:pt x="9815804" y="2873828"/>
                    </a:lnTo>
                    <a:lnTo>
                      <a:pt x="9367934" y="0"/>
                    </a:lnTo>
                    <a:lnTo>
                      <a:pt x="10804849" y="1660849"/>
                    </a:lnTo>
                    <a:lnTo>
                      <a:pt x="13585371" y="1791477"/>
                    </a:lnTo>
                    <a:lnTo>
                      <a:pt x="11532636" y="1399592"/>
                    </a:lnTo>
                    <a:lnTo>
                      <a:pt x="9367934" y="18661"/>
                    </a:lnTo>
                    <a:lnTo>
                      <a:pt x="13604032" y="18101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138">
                <a:extLst>
                  <a:ext uri="{FF2B5EF4-FFF2-40B4-BE49-F238E27FC236}">
                    <a16:creationId xmlns:a16="http://schemas.microsoft.com/office/drawing/2014/main" id="{9B20EA55-91C5-D7F0-03F6-F10812CB538F}"/>
                  </a:ext>
                </a:extLst>
              </p:cNvPr>
              <p:cNvSpPr/>
              <p:nvPr/>
            </p:nvSpPr>
            <p:spPr bwMode="auto">
              <a:xfrm>
                <a:off x="13230808" y="1716833"/>
                <a:ext cx="6027576" cy="3750906"/>
              </a:xfrm>
              <a:custGeom>
                <a:avLst/>
                <a:gdLst>
                  <a:gd name="connsiteX0" fmla="*/ 6027576 w 6027576"/>
                  <a:gd name="connsiteY0" fmla="*/ 3526971 h 3750906"/>
                  <a:gd name="connsiteX1" fmla="*/ 3862874 w 6027576"/>
                  <a:gd name="connsiteY1" fmla="*/ 2463281 h 3750906"/>
                  <a:gd name="connsiteX2" fmla="*/ 2556588 w 6027576"/>
                  <a:gd name="connsiteY2" fmla="*/ 2519265 h 3750906"/>
                  <a:gd name="connsiteX3" fmla="*/ 2369976 w 6027576"/>
                  <a:gd name="connsiteY3" fmla="*/ 1380930 h 3750906"/>
                  <a:gd name="connsiteX4" fmla="*/ 3918857 w 6027576"/>
                  <a:gd name="connsiteY4" fmla="*/ 2444620 h 3750906"/>
                  <a:gd name="connsiteX5" fmla="*/ 4870580 w 6027576"/>
                  <a:gd name="connsiteY5" fmla="*/ 2388636 h 3750906"/>
                  <a:gd name="connsiteX6" fmla="*/ 2369976 w 6027576"/>
                  <a:gd name="connsiteY6" fmla="*/ 1380930 h 3750906"/>
                  <a:gd name="connsiteX7" fmla="*/ 1250302 w 6027576"/>
                  <a:gd name="connsiteY7" fmla="*/ 2799183 h 3750906"/>
                  <a:gd name="connsiteX8" fmla="*/ 2071396 w 6027576"/>
                  <a:gd name="connsiteY8" fmla="*/ 3750906 h 3750906"/>
                  <a:gd name="connsiteX9" fmla="*/ 0 w 6027576"/>
                  <a:gd name="connsiteY9" fmla="*/ 2575249 h 3750906"/>
                  <a:gd name="connsiteX10" fmla="*/ 1250302 w 6027576"/>
                  <a:gd name="connsiteY10" fmla="*/ 2836506 h 3750906"/>
                  <a:gd name="connsiteX11" fmla="*/ 74645 w 6027576"/>
                  <a:gd name="connsiteY11" fmla="*/ 1791477 h 3750906"/>
                  <a:gd name="connsiteX12" fmla="*/ 1101012 w 6027576"/>
                  <a:gd name="connsiteY12" fmla="*/ 1343608 h 3750906"/>
                  <a:gd name="connsiteX13" fmla="*/ 2892490 w 6027576"/>
                  <a:gd name="connsiteY13" fmla="*/ 0 h 375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27576" h="3750906">
                    <a:moveTo>
                      <a:pt x="6027576" y="3526971"/>
                    </a:moveTo>
                    <a:lnTo>
                      <a:pt x="3862874" y="2463281"/>
                    </a:lnTo>
                    <a:lnTo>
                      <a:pt x="2556588" y="2519265"/>
                    </a:lnTo>
                    <a:lnTo>
                      <a:pt x="2369976" y="1380930"/>
                    </a:lnTo>
                    <a:lnTo>
                      <a:pt x="3918857" y="2444620"/>
                    </a:lnTo>
                    <a:lnTo>
                      <a:pt x="4870580" y="2388636"/>
                    </a:lnTo>
                    <a:lnTo>
                      <a:pt x="2369976" y="1380930"/>
                    </a:lnTo>
                    <a:lnTo>
                      <a:pt x="1250302" y="2799183"/>
                    </a:lnTo>
                    <a:lnTo>
                      <a:pt x="2071396" y="3750906"/>
                    </a:lnTo>
                    <a:lnTo>
                      <a:pt x="0" y="2575249"/>
                    </a:lnTo>
                    <a:lnTo>
                      <a:pt x="1250302" y="2836506"/>
                    </a:lnTo>
                    <a:lnTo>
                      <a:pt x="74645" y="1791477"/>
                    </a:lnTo>
                    <a:lnTo>
                      <a:pt x="1101012" y="1343608"/>
                    </a:lnTo>
                    <a:lnTo>
                      <a:pt x="2892490" y="0"/>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grpSp>
        <p:sp>
          <p:nvSpPr>
            <p:cNvPr id="81" name="Freeform 80">
              <a:extLst>
                <a:ext uri="{FF2B5EF4-FFF2-40B4-BE49-F238E27FC236}">
                  <a16:creationId xmlns:a16="http://schemas.microsoft.com/office/drawing/2014/main" id="{2BED7F7E-B6B0-E577-991B-A1DFDB43A499}"/>
                </a:ext>
                <a:ext uri="{C183D7F6-B498-43B3-948B-1728B52AA6E4}">
                  <adec:decorative xmlns:adec="http://schemas.microsoft.com/office/drawing/2017/decorative" val="1"/>
                </a:ext>
              </a:extLst>
            </p:cNvPr>
            <p:cNvSpPr/>
            <p:nvPr/>
          </p:nvSpPr>
          <p:spPr>
            <a:xfrm>
              <a:off x="21211468" y="5747043"/>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29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2" name="Freeform 81">
              <a:extLst>
                <a:ext uri="{FF2B5EF4-FFF2-40B4-BE49-F238E27FC236}">
                  <a16:creationId xmlns:a16="http://schemas.microsoft.com/office/drawing/2014/main" id="{DFB71A49-7AED-628C-7195-BDCEA82182E7}"/>
                </a:ext>
                <a:ext uri="{C183D7F6-B498-43B3-948B-1728B52AA6E4}">
                  <adec:decorative xmlns:adec="http://schemas.microsoft.com/office/drawing/2017/decorative" val="1"/>
                </a:ext>
              </a:extLst>
            </p:cNvPr>
            <p:cNvSpPr/>
            <p:nvPr/>
          </p:nvSpPr>
          <p:spPr>
            <a:xfrm>
              <a:off x="15638896" y="4771688"/>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4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3" name="Freeform 82">
              <a:extLst>
                <a:ext uri="{FF2B5EF4-FFF2-40B4-BE49-F238E27FC236}">
                  <a16:creationId xmlns:a16="http://schemas.microsoft.com/office/drawing/2014/main" id="{2A850947-F2A9-382D-989B-58457B9185E2}"/>
                </a:ext>
                <a:ext uri="{C183D7F6-B498-43B3-948B-1728B52AA6E4}">
                  <adec:decorative xmlns:adec="http://schemas.microsoft.com/office/drawing/2017/decorative" val="1"/>
                </a:ext>
              </a:extLst>
            </p:cNvPr>
            <p:cNvSpPr/>
            <p:nvPr/>
          </p:nvSpPr>
          <p:spPr>
            <a:xfrm>
              <a:off x="5143404" y="7375172"/>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4" name="Freeform 83">
              <a:extLst>
                <a:ext uri="{FF2B5EF4-FFF2-40B4-BE49-F238E27FC236}">
                  <a16:creationId xmlns:a16="http://schemas.microsoft.com/office/drawing/2014/main" id="{D45A2B46-DE57-6C69-096D-EFA8858F60E4}"/>
                </a:ext>
                <a:ext uri="{C183D7F6-B498-43B3-948B-1728B52AA6E4}">
                  <adec:decorative xmlns:adec="http://schemas.microsoft.com/office/drawing/2017/decorative" val="1"/>
                </a:ext>
              </a:extLst>
            </p:cNvPr>
            <p:cNvSpPr/>
            <p:nvPr/>
          </p:nvSpPr>
          <p:spPr>
            <a:xfrm>
              <a:off x="2644106" y="6322837"/>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5" name="Freeform 84">
              <a:extLst>
                <a:ext uri="{FF2B5EF4-FFF2-40B4-BE49-F238E27FC236}">
                  <a16:creationId xmlns:a16="http://schemas.microsoft.com/office/drawing/2014/main" id="{131AF667-3A83-208F-6A4B-09DA8715A66C}"/>
                </a:ext>
                <a:ext uri="{C183D7F6-B498-43B3-948B-1728B52AA6E4}">
                  <adec:decorative xmlns:adec="http://schemas.microsoft.com/office/drawing/2017/decorative" val="1"/>
                </a:ext>
              </a:extLst>
            </p:cNvPr>
            <p:cNvSpPr/>
            <p:nvPr/>
          </p:nvSpPr>
          <p:spPr>
            <a:xfrm>
              <a:off x="9890147" y="4267848"/>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6" name="Freeform 85">
              <a:extLst>
                <a:ext uri="{FF2B5EF4-FFF2-40B4-BE49-F238E27FC236}">
                  <a16:creationId xmlns:a16="http://schemas.microsoft.com/office/drawing/2014/main" id="{E57F7202-81F8-57D4-ED68-85EAE6F04496}"/>
                </a:ext>
                <a:ext uri="{C183D7F6-B498-43B3-948B-1728B52AA6E4}">
                  <adec:decorative xmlns:adec="http://schemas.microsoft.com/office/drawing/2017/decorative" val="1"/>
                </a:ext>
              </a:extLst>
            </p:cNvPr>
            <p:cNvSpPr/>
            <p:nvPr/>
          </p:nvSpPr>
          <p:spPr>
            <a:xfrm>
              <a:off x="10404070" y="8555151"/>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000">
                  <a:schemeClr val="accent1"/>
                </a:gs>
                <a:gs pos="46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chemeClr val="accent1">
                  <a:lumMod val="5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7" name="Freeform 86">
              <a:extLst>
                <a:ext uri="{FF2B5EF4-FFF2-40B4-BE49-F238E27FC236}">
                  <a16:creationId xmlns:a16="http://schemas.microsoft.com/office/drawing/2014/main" id="{889377FB-CCCB-2767-1915-60046C574537}"/>
                </a:ext>
                <a:ext uri="{C183D7F6-B498-43B3-948B-1728B52AA6E4}">
                  <adec:decorative xmlns:adec="http://schemas.microsoft.com/office/drawing/2017/decorative" val="1"/>
                </a:ext>
              </a:extLst>
            </p:cNvPr>
            <p:cNvSpPr/>
            <p:nvPr/>
          </p:nvSpPr>
          <p:spPr>
            <a:xfrm>
              <a:off x="28633714" y="9918487"/>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8" name="Freeform 87">
              <a:extLst>
                <a:ext uri="{FF2B5EF4-FFF2-40B4-BE49-F238E27FC236}">
                  <a16:creationId xmlns:a16="http://schemas.microsoft.com/office/drawing/2014/main" id="{995323DD-AE9D-5273-CB0F-73C93AC29C11}"/>
                </a:ext>
                <a:ext uri="{C183D7F6-B498-43B3-948B-1728B52AA6E4}">
                  <adec:decorative xmlns:adec="http://schemas.microsoft.com/office/drawing/2017/decorative" val="1"/>
                </a:ext>
              </a:extLst>
            </p:cNvPr>
            <p:cNvSpPr/>
            <p:nvPr/>
          </p:nvSpPr>
          <p:spPr>
            <a:xfrm>
              <a:off x="16266330" y="7263582"/>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9" name="Freeform 88">
              <a:extLst>
                <a:ext uri="{FF2B5EF4-FFF2-40B4-BE49-F238E27FC236}">
                  <a16:creationId xmlns:a16="http://schemas.microsoft.com/office/drawing/2014/main" id="{318D0A0A-E727-6497-C8A3-4363FAF8941C}"/>
                </a:ext>
                <a:ext uri="{C183D7F6-B498-43B3-948B-1728B52AA6E4}">
                  <adec:decorative xmlns:adec="http://schemas.microsoft.com/office/drawing/2017/decorative" val="1"/>
                </a:ext>
              </a:extLst>
            </p:cNvPr>
            <p:cNvSpPr/>
            <p:nvPr/>
          </p:nvSpPr>
          <p:spPr>
            <a:xfrm>
              <a:off x="8034994" y="5844939"/>
              <a:ext cx="845294" cy="84505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1" name="Freeform 90">
              <a:extLst>
                <a:ext uri="{FF2B5EF4-FFF2-40B4-BE49-F238E27FC236}">
                  <a16:creationId xmlns:a16="http://schemas.microsoft.com/office/drawing/2014/main" id="{2BB42B3B-C8FF-C4CF-7A8D-21F30D9CBDE3}"/>
                </a:ext>
                <a:ext uri="{C183D7F6-B498-43B3-948B-1728B52AA6E4}">
                  <adec:decorative xmlns:adec="http://schemas.microsoft.com/office/drawing/2017/decorative" val="1"/>
                </a:ext>
              </a:extLst>
            </p:cNvPr>
            <p:cNvSpPr/>
            <p:nvPr/>
          </p:nvSpPr>
          <p:spPr>
            <a:xfrm>
              <a:off x="5666519" y="4136075"/>
              <a:ext cx="420496" cy="42037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2" name="Freeform 91">
              <a:extLst>
                <a:ext uri="{FF2B5EF4-FFF2-40B4-BE49-F238E27FC236}">
                  <a16:creationId xmlns:a16="http://schemas.microsoft.com/office/drawing/2014/main" id="{BBD7D5B2-28D7-DA2D-9600-D4F6844C67BB}"/>
                </a:ext>
                <a:ext uri="{C183D7F6-B498-43B3-948B-1728B52AA6E4}">
                  <adec:decorative xmlns:adec="http://schemas.microsoft.com/office/drawing/2017/decorative" val="1"/>
                </a:ext>
              </a:extLst>
            </p:cNvPr>
            <p:cNvSpPr/>
            <p:nvPr/>
          </p:nvSpPr>
          <p:spPr>
            <a:xfrm>
              <a:off x="5843436" y="6115482"/>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3" name="Freeform 92">
              <a:extLst>
                <a:ext uri="{FF2B5EF4-FFF2-40B4-BE49-F238E27FC236}">
                  <a16:creationId xmlns:a16="http://schemas.microsoft.com/office/drawing/2014/main" id="{0568D40D-836D-E28E-7796-CEEC1214A442}"/>
                </a:ext>
                <a:ext uri="{C183D7F6-B498-43B3-948B-1728B52AA6E4}">
                  <adec:decorative xmlns:adec="http://schemas.microsoft.com/office/drawing/2017/decorative" val="1"/>
                </a:ext>
              </a:extLst>
            </p:cNvPr>
            <p:cNvSpPr/>
            <p:nvPr/>
          </p:nvSpPr>
          <p:spPr>
            <a:xfrm>
              <a:off x="539316" y="6236290"/>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4" name="Freeform 93">
              <a:extLst>
                <a:ext uri="{FF2B5EF4-FFF2-40B4-BE49-F238E27FC236}">
                  <a16:creationId xmlns:a16="http://schemas.microsoft.com/office/drawing/2014/main" id="{7C8D1EA3-A9FC-9F19-F7CE-CD9FF60252C0}"/>
                </a:ext>
                <a:ext uri="{C183D7F6-B498-43B3-948B-1728B52AA6E4}">
                  <adec:decorative xmlns:adec="http://schemas.microsoft.com/office/drawing/2017/decorative" val="1"/>
                </a:ext>
              </a:extLst>
            </p:cNvPr>
            <p:cNvSpPr/>
            <p:nvPr/>
          </p:nvSpPr>
          <p:spPr>
            <a:xfrm>
              <a:off x="8800065" y="4672474"/>
              <a:ext cx="530600" cy="53045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5" name="Freeform 94">
              <a:extLst>
                <a:ext uri="{FF2B5EF4-FFF2-40B4-BE49-F238E27FC236}">
                  <a16:creationId xmlns:a16="http://schemas.microsoft.com/office/drawing/2014/main" id="{5A869D52-1AF7-4ADB-62F1-E6DE4D3B1559}"/>
                </a:ext>
                <a:ext uri="{C183D7F6-B498-43B3-948B-1728B52AA6E4}">
                  <adec:decorative xmlns:adec="http://schemas.microsoft.com/office/drawing/2017/decorative" val="1"/>
                </a:ext>
              </a:extLst>
            </p:cNvPr>
            <p:cNvSpPr/>
            <p:nvPr/>
          </p:nvSpPr>
          <p:spPr>
            <a:xfrm>
              <a:off x="16872249" y="4301168"/>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6" name="Freeform 95">
              <a:extLst>
                <a:ext uri="{FF2B5EF4-FFF2-40B4-BE49-F238E27FC236}">
                  <a16:creationId xmlns:a16="http://schemas.microsoft.com/office/drawing/2014/main" id="{C6EE2285-6FA7-E02D-E619-8D0E415DB5B7}"/>
                </a:ext>
                <a:ext uri="{C183D7F6-B498-43B3-948B-1728B52AA6E4}">
                  <adec:decorative xmlns:adec="http://schemas.microsoft.com/office/drawing/2017/decorative" val="1"/>
                </a:ext>
              </a:extLst>
            </p:cNvPr>
            <p:cNvSpPr/>
            <p:nvPr/>
          </p:nvSpPr>
          <p:spPr>
            <a:xfrm>
              <a:off x="9842200" y="5863314"/>
              <a:ext cx="533560" cy="53341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000">
                  <a:schemeClr val="accent1"/>
                </a:gs>
                <a:gs pos="66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chemeClr val="accent1">
                  <a:lumMod val="5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7" name="Freeform 96">
              <a:extLst>
                <a:ext uri="{FF2B5EF4-FFF2-40B4-BE49-F238E27FC236}">
                  <a16:creationId xmlns:a16="http://schemas.microsoft.com/office/drawing/2014/main" id="{A48D1758-A676-4C5D-8026-603B8409E65E}"/>
                </a:ext>
                <a:ext uri="{C183D7F6-B498-43B3-948B-1728B52AA6E4}">
                  <adec:decorative xmlns:adec="http://schemas.microsoft.com/office/drawing/2017/decorative" val="1"/>
                </a:ext>
              </a:extLst>
            </p:cNvPr>
            <p:cNvSpPr/>
            <p:nvPr/>
          </p:nvSpPr>
          <p:spPr>
            <a:xfrm>
              <a:off x="23221690" y="7733143"/>
              <a:ext cx="1091546" cy="109123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5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8" name="Freeform 97">
              <a:extLst>
                <a:ext uri="{FF2B5EF4-FFF2-40B4-BE49-F238E27FC236}">
                  <a16:creationId xmlns:a16="http://schemas.microsoft.com/office/drawing/2014/main" id="{B9743B55-F534-8AE0-DCB4-EB52566FEBAB}"/>
                </a:ext>
                <a:ext uri="{C183D7F6-B498-43B3-948B-1728B52AA6E4}">
                  <adec:decorative xmlns:adec="http://schemas.microsoft.com/office/drawing/2017/decorative" val="1"/>
                </a:ext>
              </a:extLst>
            </p:cNvPr>
            <p:cNvSpPr/>
            <p:nvPr/>
          </p:nvSpPr>
          <p:spPr>
            <a:xfrm>
              <a:off x="22702262" y="10213902"/>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5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9" name="Freeform 98">
              <a:extLst>
                <a:ext uri="{FF2B5EF4-FFF2-40B4-BE49-F238E27FC236}">
                  <a16:creationId xmlns:a16="http://schemas.microsoft.com/office/drawing/2014/main" id="{A3FD7EFC-BDEA-696D-3233-9B07C6796DF4}"/>
                </a:ext>
                <a:ext uri="{C183D7F6-B498-43B3-948B-1728B52AA6E4}">
                  <adec:decorative xmlns:adec="http://schemas.microsoft.com/office/drawing/2017/decorative" val="1"/>
                </a:ext>
              </a:extLst>
            </p:cNvPr>
            <p:cNvSpPr/>
            <p:nvPr/>
          </p:nvSpPr>
          <p:spPr>
            <a:xfrm>
              <a:off x="17908581" y="6037754"/>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0" name="Freeform 99">
              <a:extLst>
                <a:ext uri="{FF2B5EF4-FFF2-40B4-BE49-F238E27FC236}">
                  <a16:creationId xmlns:a16="http://schemas.microsoft.com/office/drawing/2014/main" id="{0AAAF2E7-3BB6-C8EA-E7F2-A764BFAC45C0}"/>
                </a:ext>
                <a:ext uri="{C183D7F6-B498-43B3-948B-1728B52AA6E4}">
                  <adec:decorative xmlns:adec="http://schemas.microsoft.com/office/drawing/2017/decorative" val="1"/>
                </a:ext>
              </a:extLst>
            </p:cNvPr>
            <p:cNvSpPr/>
            <p:nvPr/>
          </p:nvSpPr>
          <p:spPr>
            <a:xfrm>
              <a:off x="19756262" y="8195840"/>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1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1" name="Freeform 100">
              <a:extLst>
                <a:ext uri="{FF2B5EF4-FFF2-40B4-BE49-F238E27FC236}">
                  <a16:creationId xmlns:a16="http://schemas.microsoft.com/office/drawing/2014/main" id="{5AF394D2-3945-9910-775C-A0A12BF0819A}"/>
                </a:ext>
                <a:ext uri="{C183D7F6-B498-43B3-948B-1728B52AA6E4}">
                  <adec:decorative xmlns:adec="http://schemas.microsoft.com/office/drawing/2017/decorative" val="1"/>
                </a:ext>
              </a:extLst>
            </p:cNvPr>
            <p:cNvSpPr/>
            <p:nvPr/>
          </p:nvSpPr>
          <p:spPr>
            <a:xfrm>
              <a:off x="26856839" y="7407448"/>
              <a:ext cx="875046" cy="8748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2" name="Freeform 101">
              <a:extLst>
                <a:ext uri="{FF2B5EF4-FFF2-40B4-BE49-F238E27FC236}">
                  <a16:creationId xmlns:a16="http://schemas.microsoft.com/office/drawing/2014/main" id="{ACCFBC20-602F-62FE-5A6B-0D62C411C029}"/>
                </a:ext>
                <a:ext uri="{C183D7F6-B498-43B3-948B-1728B52AA6E4}">
                  <adec:decorative xmlns:adec="http://schemas.microsoft.com/office/drawing/2017/decorative" val="1"/>
                </a:ext>
              </a:extLst>
            </p:cNvPr>
            <p:cNvSpPr/>
            <p:nvPr/>
          </p:nvSpPr>
          <p:spPr>
            <a:xfrm>
              <a:off x="6997181" y="5089773"/>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3" name="Freeform 102">
              <a:extLst>
                <a:ext uri="{FF2B5EF4-FFF2-40B4-BE49-F238E27FC236}">
                  <a16:creationId xmlns:a16="http://schemas.microsoft.com/office/drawing/2014/main" id="{F8073CDE-D262-B63E-285F-199DD7CDD52A}"/>
                </a:ext>
                <a:ext uri="{C183D7F6-B498-43B3-948B-1728B52AA6E4}">
                  <adec:decorative xmlns:adec="http://schemas.microsoft.com/office/drawing/2017/decorative" val="1"/>
                </a:ext>
              </a:extLst>
            </p:cNvPr>
            <p:cNvSpPr/>
            <p:nvPr/>
          </p:nvSpPr>
          <p:spPr>
            <a:xfrm>
              <a:off x="13630470" y="1700413"/>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4" name="Freeform 103">
              <a:extLst>
                <a:ext uri="{FF2B5EF4-FFF2-40B4-BE49-F238E27FC236}">
                  <a16:creationId xmlns:a16="http://schemas.microsoft.com/office/drawing/2014/main" id="{6D6ECC3D-4E20-0758-D546-B2928D5357F4}"/>
                </a:ext>
                <a:ext uri="{C183D7F6-B498-43B3-948B-1728B52AA6E4}">
                  <adec:decorative xmlns:adec="http://schemas.microsoft.com/office/drawing/2017/decorative" val="1"/>
                </a:ext>
              </a:extLst>
            </p:cNvPr>
            <p:cNvSpPr/>
            <p:nvPr/>
          </p:nvSpPr>
          <p:spPr>
            <a:xfrm>
              <a:off x="2041646" y="4539395"/>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5" name="Freeform 104">
              <a:extLst>
                <a:ext uri="{FF2B5EF4-FFF2-40B4-BE49-F238E27FC236}">
                  <a16:creationId xmlns:a16="http://schemas.microsoft.com/office/drawing/2014/main" id="{157EAF24-3E82-9B50-CC82-017789661E93}"/>
                </a:ext>
                <a:ext uri="{C183D7F6-B498-43B3-948B-1728B52AA6E4}">
                  <adec:decorative xmlns:adec="http://schemas.microsoft.com/office/drawing/2017/decorative" val="1"/>
                </a:ext>
              </a:extLst>
            </p:cNvPr>
            <p:cNvSpPr/>
            <p:nvPr/>
          </p:nvSpPr>
          <p:spPr>
            <a:xfrm>
              <a:off x="863716" y="4991190"/>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6" name="Freeform 105">
              <a:extLst>
                <a:ext uri="{FF2B5EF4-FFF2-40B4-BE49-F238E27FC236}">
                  <a16:creationId xmlns:a16="http://schemas.microsoft.com/office/drawing/2014/main" id="{B94A7AA1-BE3F-040B-A824-312184C7ACF8}"/>
                </a:ext>
                <a:ext uri="{C183D7F6-B498-43B3-948B-1728B52AA6E4}">
                  <adec:decorative xmlns:adec="http://schemas.microsoft.com/office/drawing/2017/decorative" val="1"/>
                </a:ext>
              </a:extLst>
            </p:cNvPr>
            <p:cNvSpPr/>
            <p:nvPr/>
          </p:nvSpPr>
          <p:spPr>
            <a:xfrm>
              <a:off x="5176787" y="2737246"/>
              <a:ext cx="828224" cy="82799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7" name="Freeform 106">
              <a:extLst>
                <a:ext uri="{FF2B5EF4-FFF2-40B4-BE49-F238E27FC236}">
                  <a16:creationId xmlns:a16="http://schemas.microsoft.com/office/drawing/2014/main" id="{D3101849-9E94-3558-44AC-28232E7AFCB4}"/>
                </a:ext>
                <a:ext uri="{C183D7F6-B498-43B3-948B-1728B52AA6E4}">
                  <adec:decorative xmlns:adec="http://schemas.microsoft.com/office/drawing/2017/decorative" val="1"/>
                </a:ext>
              </a:extLst>
            </p:cNvPr>
            <p:cNvSpPr/>
            <p:nvPr/>
          </p:nvSpPr>
          <p:spPr>
            <a:xfrm>
              <a:off x="25188368" y="5885816"/>
              <a:ext cx="1091546" cy="109123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8" name="Freeform 107">
              <a:extLst>
                <a:ext uri="{FF2B5EF4-FFF2-40B4-BE49-F238E27FC236}">
                  <a16:creationId xmlns:a16="http://schemas.microsoft.com/office/drawing/2014/main" id="{FC965EB4-5723-2E72-A0B5-9B72361223F1}"/>
                </a:ext>
                <a:ext uri="{C183D7F6-B498-43B3-948B-1728B52AA6E4}">
                  <adec:decorative xmlns:adec="http://schemas.microsoft.com/office/drawing/2017/decorative" val="1"/>
                </a:ext>
              </a:extLst>
            </p:cNvPr>
            <p:cNvSpPr/>
            <p:nvPr/>
          </p:nvSpPr>
          <p:spPr>
            <a:xfrm>
              <a:off x="23108175" y="5921325"/>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5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9" name="Freeform 108">
              <a:extLst>
                <a:ext uri="{FF2B5EF4-FFF2-40B4-BE49-F238E27FC236}">
                  <a16:creationId xmlns:a16="http://schemas.microsoft.com/office/drawing/2014/main" id="{AAAB122C-9125-FD7A-3EC6-79D9939C85D1}"/>
                </a:ext>
                <a:ext uri="{C183D7F6-B498-43B3-948B-1728B52AA6E4}">
                  <adec:decorative xmlns:adec="http://schemas.microsoft.com/office/drawing/2017/decorative" val="1"/>
                </a:ext>
              </a:extLst>
            </p:cNvPr>
            <p:cNvSpPr/>
            <p:nvPr/>
          </p:nvSpPr>
          <p:spPr>
            <a:xfrm>
              <a:off x="23821317" y="3329737"/>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28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0" name="Freeform 109">
              <a:extLst>
                <a:ext uri="{FF2B5EF4-FFF2-40B4-BE49-F238E27FC236}">
                  <a16:creationId xmlns:a16="http://schemas.microsoft.com/office/drawing/2014/main" id="{B3B235BC-402A-62BD-7222-DE61437D2131}"/>
                </a:ext>
                <a:ext uri="{C183D7F6-B498-43B3-948B-1728B52AA6E4}">
                  <adec:decorative xmlns:adec="http://schemas.microsoft.com/office/drawing/2017/decorative" val="1"/>
                </a:ext>
              </a:extLst>
            </p:cNvPr>
            <p:cNvSpPr/>
            <p:nvPr/>
          </p:nvSpPr>
          <p:spPr>
            <a:xfrm>
              <a:off x="19873891" y="4923793"/>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1" name="Freeform 110">
              <a:extLst>
                <a:ext uri="{FF2B5EF4-FFF2-40B4-BE49-F238E27FC236}">
                  <a16:creationId xmlns:a16="http://schemas.microsoft.com/office/drawing/2014/main" id="{33F1BBCE-BB2A-2CCB-C6D5-1C8BBDEE08B9}"/>
                </a:ext>
                <a:ext uri="{C183D7F6-B498-43B3-948B-1728B52AA6E4}">
                  <adec:decorative xmlns:adec="http://schemas.microsoft.com/office/drawing/2017/decorative" val="1"/>
                </a:ext>
              </a:extLst>
            </p:cNvPr>
            <p:cNvSpPr/>
            <p:nvPr/>
          </p:nvSpPr>
          <p:spPr>
            <a:xfrm>
              <a:off x="25310539" y="7858704"/>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2" name="Freeform 111">
              <a:extLst>
                <a:ext uri="{FF2B5EF4-FFF2-40B4-BE49-F238E27FC236}">
                  <a16:creationId xmlns:a16="http://schemas.microsoft.com/office/drawing/2014/main" id="{7E51895E-0AC6-A80D-425F-A8327E24DD99}"/>
                </a:ext>
                <a:ext uri="{C183D7F6-B498-43B3-948B-1728B52AA6E4}">
                  <adec:decorative xmlns:adec="http://schemas.microsoft.com/office/drawing/2017/decorative" val="1"/>
                </a:ext>
              </a:extLst>
            </p:cNvPr>
            <p:cNvSpPr/>
            <p:nvPr/>
          </p:nvSpPr>
          <p:spPr>
            <a:xfrm>
              <a:off x="14355414" y="6951855"/>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1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3" name="Freeform 112">
              <a:extLst>
                <a:ext uri="{FF2B5EF4-FFF2-40B4-BE49-F238E27FC236}">
                  <a16:creationId xmlns:a16="http://schemas.microsoft.com/office/drawing/2014/main" id="{F0A7DA4C-4F8F-E4CD-ADFF-0890485E40CF}"/>
                </a:ext>
                <a:ext uri="{C183D7F6-B498-43B3-948B-1728B52AA6E4}">
                  <adec:decorative xmlns:adec="http://schemas.microsoft.com/office/drawing/2017/decorative" val="1"/>
                </a:ext>
              </a:extLst>
            </p:cNvPr>
            <p:cNvSpPr/>
            <p:nvPr/>
          </p:nvSpPr>
          <p:spPr>
            <a:xfrm>
              <a:off x="12737436" y="6217240"/>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1000">
                  <a:schemeClr val="accent4"/>
                </a:gs>
                <a:gs pos="73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4" name="Freeform 113">
              <a:extLst>
                <a:ext uri="{FF2B5EF4-FFF2-40B4-BE49-F238E27FC236}">
                  <a16:creationId xmlns:a16="http://schemas.microsoft.com/office/drawing/2014/main" id="{3C31E23D-FEDF-8B59-617D-45547EA3A0CA}"/>
                </a:ext>
                <a:ext uri="{C183D7F6-B498-43B3-948B-1728B52AA6E4}">
                  <adec:decorative xmlns:adec="http://schemas.microsoft.com/office/drawing/2017/decorative" val="1"/>
                </a:ext>
              </a:extLst>
            </p:cNvPr>
            <p:cNvSpPr/>
            <p:nvPr/>
          </p:nvSpPr>
          <p:spPr>
            <a:xfrm>
              <a:off x="9425522" y="8045470"/>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000">
                  <a:schemeClr val="accent1"/>
                </a:gs>
                <a:gs pos="66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chemeClr val="accent1">
                  <a:lumMod val="5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5" name="Freeform 114">
              <a:extLst>
                <a:ext uri="{FF2B5EF4-FFF2-40B4-BE49-F238E27FC236}">
                  <a16:creationId xmlns:a16="http://schemas.microsoft.com/office/drawing/2014/main" id="{CC12CECA-FFE7-DCD9-C284-A28D09CA3382}"/>
                </a:ext>
                <a:ext uri="{C183D7F6-B498-43B3-948B-1728B52AA6E4}">
                  <adec:decorative xmlns:adec="http://schemas.microsoft.com/office/drawing/2017/decorative" val="1"/>
                </a:ext>
              </a:extLst>
            </p:cNvPr>
            <p:cNvSpPr/>
            <p:nvPr/>
          </p:nvSpPr>
          <p:spPr>
            <a:xfrm>
              <a:off x="1420655" y="8508428"/>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6" name="Freeform 115">
              <a:extLst>
                <a:ext uri="{FF2B5EF4-FFF2-40B4-BE49-F238E27FC236}">
                  <a16:creationId xmlns:a16="http://schemas.microsoft.com/office/drawing/2014/main" id="{B9900105-43F5-06E2-AF28-1544370CE3A6}"/>
                </a:ext>
                <a:ext uri="{C183D7F6-B498-43B3-948B-1728B52AA6E4}">
                  <adec:decorative xmlns:adec="http://schemas.microsoft.com/office/drawing/2017/decorative" val="1"/>
                </a:ext>
              </a:extLst>
            </p:cNvPr>
            <p:cNvSpPr/>
            <p:nvPr/>
          </p:nvSpPr>
          <p:spPr>
            <a:xfrm>
              <a:off x="15687323" y="8908745"/>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4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7" name="Freeform 116">
              <a:extLst>
                <a:ext uri="{FF2B5EF4-FFF2-40B4-BE49-F238E27FC236}">
                  <a16:creationId xmlns:a16="http://schemas.microsoft.com/office/drawing/2014/main" id="{8079BE06-C234-B814-0740-1E9667EA7967}"/>
                </a:ext>
                <a:ext uri="{C183D7F6-B498-43B3-948B-1728B52AA6E4}">
                  <adec:decorative xmlns:adec="http://schemas.microsoft.com/office/drawing/2017/decorative" val="1"/>
                </a:ext>
              </a:extLst>
            </p:cNvPr>
            <p:cNvSpPr/>
            <p:nvPr/>
          </p:nvSpPr>
          <p:spPr>
            <a:xfrm>
              <a:off x="19652419" y="6545258"/>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1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8" name="Freeform 117">
              <a:extLst>
                <a:ext uri="{FF2B5EF4-FFF2-40B4-BE49-F238E27FC236}">
                  <a16:creationId xmlns:a16="http://schemas.microsoft.com/office/drawing/2014/main" id="{321C1BFC-0A45-AB39-79DF-DC0EE8B6877E}"/>
                </a:ext>
                <a:ext uri="{C183D7F6-B498-43B3-948B-1728B52AA6E4}">
                  <adec:decorative xmlns:adec="http://schemas.microsoft.com/office/drawing/2017/decorative" val="1"/>
                </a:ext>
              </a:extLst>
            </p:cNvPr>
            <p:cNvSpPr/>
            <p:nvPr/>
          </p:nvSpPr>
          <p:spPr>
            <a:xfrm>
              <a:off x="9784764" y="11226029"/>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1000">
                  <a:schemeClr val="accent4"/>
                </a:gs>
                <a:gs pos="73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chemeClr val="accent4">
                  <a:lumMod val="1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9" name="Freeform 118">
              <a:extLst>
                <a:ext uri="{FF2B5EF4-FFF2-40B4-BE49-F238E27FC236}">
                  <a16:creationId xmlns:a16="http://schemas.microsoft.com/office/drawing/2014/main" id="{0BAD64D0-722D-73DA-BD05-ED0C8026B349}"/>
                </a:ext>
                <a:ext uri="{C183D7F6-B498-43B3-948B-1728B52AA6E4}">
                  <adec:decorative xmlns:adec="http://schemas.microsoft.com/office/drawing/2017/decorative" val="1"/>
                </a:ext>
              </a:extLst>
            </p:cNvPr>
            <p:cNvSpPr/>
            <p:nvPr/>
          </p:nvSpPr>
          <p:spPr>
            <a:xfrm>
              <a:off x="18165602" y="9355599"/>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1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0" name="Freeform 119">
              <a:extLst>
                <a:ext uri="{FF2B5EF4-FFF2-40B4-BE49-F238E27FC236}">
                  <a16:creationId xmlns:a16="http://schemas.microsoft.com/office/drawing/2014/main" id="{67A1E9ED-4A34-0F09-8597-01F6972F6420}"/>
                </a:ext>
                <a:ext uri="{C183D7F6-B498-43B3-948B-1728B52AA6E4}">
                  <adec:decorative xmlns:adec="http://schemas.microsoft.com/office/drawing/2017/decorative" val="1"/>
                </a:ext>
              </a:extLst>
            </p:cNvPr>
            <p:cNvSpPr/>
            <p:nvPr/>
          </p:nvSpPr>
          <p:spPr>
            <a:xfrm>
              <a:off x="27580539" y="5914889"/>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1" name="Freeform 120">
              <a:extLst>
                <a:ext uri="{FF2B5EF4-FFF2-40B4-BE49-F238E27FC236}">
                  <a16:creationId xmlns:a16="http://schemas.microsoft.com/office/drawing/2014/main" id="{980D195A-52A7-D93C-B5F8-7A7583D2BFA8}"/>
                </a:ext>
                <a:ext uri="{C183D7F6-B498-43B3-948B-1728B52AA6E4}">
                  <adec:decorative xmlns:adec="http://schemas.microsoft.com/office/drawing/2017/decorative" val="1"/>
                </a:ext>
              </a:extLst>
            </p:cNvPr>
            <p:cNvSpPr/>
            <p:nvPr/>
          </p:nvSpPr>
          <p:spPr>
            <a:xfrm>
              <a:off x="21438471" y="8491255"/>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29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2" name="Freeform 121">
              <a:extLst>
                <a:ext uri="{FF2B5EF4-FFF2-40B4-BE49-F238E27FC236}">
                  <a16:creationId xmlns:a16="http://schemas.microsoft.com/office/drawing/2014/main" id="{D03E2232-1499-81E5-E0D5-B6FAF59D8625}"/>
                </a:ext>
                <a:ext uri="{C183D7F6-B498-43B3-948B-1728B52AA6E4}">
                  <adec:decorative xmlns:adec="http://schemas.microsoft.com/office/drawing/2017/decorative" val="1"/>
                </a:ext>
              </a:extLst>
            </p:cNvPr>
            <p:cNvSpPr/>
            <p:nvPr/>
          </p:nvSpPr>
          <p:spPr>
            <a:xfrm>
              <a:off x="7095095" y="7855275"/>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3" name="Freeform 122">
              <a:extLst>
                <a:ext uri="{FF2B5EF4-FFF2-40B4-BE49-F238E27FC236}">
                  <a16:creationId xmlns:a16="http://schemas.microsoft.com/office/drawing/2014/main" id="{0E7CFF80-F45D-C018-24F3-35DE2D7E3376}"/>
                </a:ext>
                <a:ext uri="{C183D7F6-B498-43B3-948B-1728B52AA6E4}">
                  <adec:decorative xmlns:adec="http://schemas.microsoft.com/office/drawing/2017/decorative" val="1"/>
                </a:ext>
              </a:extLst>
            </p:cNvPr>
            <p:cNvSpPr/>
            <p:nvPr/>
          </p:nvSpPr>
          <p:spPr>
            <a:xfrm>
              <a:off x="28103626" y="7146642"/>
              <a:ext cx="737085" cy="736877"/>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4" name="Freeform 123">
              <a:extLst>
                <a:ext uri="{FF2B5EF4-FFF2-40B4-BE49-F238E27FC236}">
                  <a16:creationId xmlns:a16="http://schemas.microsoft.com/office/drawing/2014/main" id="{8E66E529-0484-1D4E-BBA7-C693EB0A6D73}"/>
                </a:ext>
                <a:ext uri="{C183D7F6-B498-43B3-948B-1728B52AA6E4}">
                  <adec:decorative xmlns:adec="http://schemas.microsoft.com/office/drawing/2017/decorative" val="1"/>
                </a:ext>
              </a:extLst>
            </p:cNvPr>
            <p:cNvSpPr/>
            <p:nvPr/>
          </p:nvSpPr>
          <p:spPr>
            <a:xfrm>
              <a:off x="11026621" y="4571018"/>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000">
                  <a:schemeClr val="accent1"/>
                </a:gs>
                <a:gs pos="46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chemeClr val="accent1">
                  <a:lumMod val="5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5" name="Freeform 124">
              <a:extLst>
                <a:ext uri="{FF2B5EF4-FFF2-40B4-BE49-F238E27FC236}">
                  <a16:creationId xmlns:a16="http://schemas.microsoft.com/office/drawing/2014/main" id="{45278F72-BFC5-8BF7-0F8E-3CA1C642F790}"/>
                </a:ext>
                <a:ext uri="{C183D7F6-B498-43B3-948B-1728B52AA6E4}">
                  <adec:decorative xmlns:adec="http://schemas.microsoft.com/office/drawing/2017/decorative" val="1"/>
                </a:ext>
              </a:extLst>
            </p:cNvPr>
            <p:cNvSpPr/>
            <p:nvPr/>
          </p:nvSpPr>
          <p:spPr>
            <a:xfrm>
              <a:off x="11115333" y="7263582"/>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000">
                  <a:schemeClr val="accent1"/>
                </a:gs>
                <a:gs pos="46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chemeClr val="accent1">
                  <a:lumMod val="5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6" name="Freeform 125">
              <a:extLst>
                <a:ext uri="{FF2B5EF4-FFF2-40B4-BE49-F238E27FC236}">
                  <a16:creationId xmlns:a16="http://schemas.microsoft.com/office/drawing/2014/main" id="{B40E0ABD-C541-816C-D91C-E505B1A4B04E}"/>
                </a:ext>
                <a:ext uri="{C183D7F6-B498-43B3-948B-1728B52AA6E4}">
                  <adec:decorative xmlns:adec="http://schemas.microsoft.com/office/drawing/2017/decorative" val="1"/>
                </a:ext>
              </a:extLst>
            </p:cNvPr>
            <p:cNvSpPr/>
            <p:nvPr/>
          </p:nvSpPr>
          <p:spPr>
            <a:xfrm>
              <a:off x="12771395" y="4090736"/>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1000">
                  <a:schemeClr val="accent4"/>
                </a:gs>
                <a:gs pos="73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7" name="Freeform 126">
              <a:extLst>
                <a:ext uri="{FF2B5EF4-FFF2-40B4-BE49-F238E27FC236}">
                  <a16:creationId xmlns:a16="http://schemas.microsoft.com/office/drawing/2014/main" id="{3B319DCF-0A38-2F28-D42A-121C0DC3BAEE}"/>
                </a:ext>
                <a:ext uri="{C183D7F6-B498-43B3-948B-1728B52AA6E4}">
                  <adec:decorative xmlns:adec="http://schemas.microsoft.com/office/drawing/2017/decorative" val="1"/>
                </a:ext>
              </a:extLst>
            </p:cNvPr>
            <p:cNvSpPr/>
            <p:nvPr/>
          </p:nvSpPr>
          <p:spPr>
            <a:xfrm>
              <a:off x="13588373" y="8540306"/>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1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8" name="Freeform 127">
              <a:extLst>
                <a:ext uri="{FF2B5EF4-FFF2-40B4-BE49-F238E27FC236}">
                  <a16:creationId xmlns:a16="http://schemas.microsoft.com/office/drawing/2014/main" id="{D6649248-E51B-5A42-EE0E-5BFC6A20C03F}"/>
                </a:ext>
                <a:ext uri="{C183D7F6-B498-43B3-948B-1728B52AA6E4}">
                  <adec:decorative xmlns:adec="http://schemas.microsoft.com/office/drawing/2017/decorative" val="1"/>
                </a:ext>
              </a:extLst>
            </p:cNvPr>
            <p:cNvSpPr/>
            <p:nvPr/>
          </p:nvSpPr>
          <p:spPr>
            <a:xfrm>
              <a:off x="15194849" y="10152388"/>
              <a:ext cx="1008828" cy="100855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4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9" name="Freeform 128">
              <a:extLst>
                <a:ext uri="{FF2B5EF4-FFF2-40B4-BE49-F238E27FC236}">
                  <a16:creationId xmlns:a16="http://schemas.microsoft.com/office/drawing/2014/main" id="{39E08B85-E46B-F908-8AF4-129DFC120C2B}"/>
                </a:ext>
                <a:ext uri="{C183D7F6-B498-43B3-948B-1728B52AA6E4}">
                  <adec:decorative xmlns:adec="http://schemas.microsoft.com/office/drawing/2017/decorative" val="1"/>
                </a:ext>
              </a:extLst>
            </p:cNvPr>
            <p:cNvSpPr/>
            <p:nvPr/>
          </p:nvSpPr>
          <p:spPr>
            <a:xfrm>
              <a:off x="3708257" y="5244193"/>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grpSp>
      <p:grpSp>
        <p:nvGrpSpPr>
          <p:cNvPr id="34" name="Group 33">
            <a:extLst>
              <a:ext uri="{FF2B5EF4-FFF2-40B4-BE49-F238E27FC236}">
                <a16:creationId xmlns:a16="http://schemas.microsoft.com/office/drawing/2014/main" id="{2486BFDC-E0A4-FF55-0E4E-80BAFF0E301E}"/>
              </a:ext>
            </a:extLst>
          </p:cNvPr>
          <p:cNvGrpSpPr/>
          <p:nvPr/>
        </p:nvGrpSpPr>
        <p:grpSpPr>
          <a:xfrm>
            <a:off x="1707503" y="5386709"/>
            <a:ext cx="9010959" cy="246221"/>
            <a:chOff x="1707503" y="5355975"/>
            <a:chExt cx="9010959" cy="246221"/>
          </a:xfrm>
        </p:grpSpPr>
        <p:sp>
          <p:nvSpPr>
            <p:cNvPr id="8" name="TextBox 7">
              <a:extLst>
                <a:ext uri="{FF2B5EF4-FFF2-40B4-BE49-F238E27FC236}">
                  <a16:creationId xmlns:a16="http://schemas.microsoft.com/office/drawing/2014/main" id="{A7E18F72-B961-8BF4-4406-E8FBBA550378}"/>
                </a:ext>
              </a:extLst>
            </p:cNvPr>
            <p:cNvSpPr txBox="1"/>
            <p:nvPr/>
          </p:nvSpPr>
          <p:spPr>
            <a:xfrm>
              <a:off x="7003214" y="5355975"/>
              <a:ext cx="1822465" cy="246221"/>
            </a:xfrm>
            <a:prstGeom prst="rect">
              <a:avLst/>
            </a:prstGeom>
            <a:noFill/>
          </p:spPr>
          <p:txBody>
            <a:bodyPr wrap="square" lIns="0" tIns="0" rIns="0" bIns="0" rtlCol="0" anchor="t">
              <a:spAutoFit/>
            </a:bodyPr>
            <a:lstStyle>
              <a:defPPr>
                <a:defRPr lang="en-US"/>
              </a:defPPr>
              <a:lvl1pPr marL="0" algn="l" defTabSz="361890" rtl="0" eaLnBrk="1" latinLnBrk="0" hangingPunct="1">
                <a:defRPr sz="1425" kern="1200">
                  <a:solidFill>
                    <a:schemeClr val="tx1"/>
                  </a:solidFill>
                  <a:latin typeface="+mn-lt"/>
                  <a:ea typeface="+mn-ea"/>
                  <a:cs typeface="+mn-cs"/>
                </a:defRPr>
              </a:lvl1pPr>
              <a:lvl2pPr marL="361890" algn="l" defTabSz="361890" rtl="0" eaLnBrk="1" latinLnBrk="0" hangingPunct="1">
                <a:defRPr sz="1425" kern="1200">
                  <a:solidFill>
                    <a:schemeClr val="tx1"/>
                  </a:solidFill>
                  <a:latin typeface="+mn-lt"/>
                  <a:ea typeface="+mn-ea"/>
                  <a:cs typeface="+mn-cs"/>
                </a:defRPr>
              </a:lvl2pPr>
              <a:lvl3pPr marL="723780" algn="l" defTabSz="361890" rtl="0" eaLnBrk="1" latinLnBrk="0" hangingPunct="1">
                <a:defRPr sz="1425" kern="1200">
                  <a:solidFill>
                    <a:schemeClr val="tx1"/>
                  </a:solidFill>
                  <a:latin typeface="+mn-lt"/>
                  <a:ea typeface="+mn-ea"/>
                  <a:cs typeface="+mn-cs"/>
                </a:defRPr>
              </a:lvl3pPr>
              <a:lvl4pPr marL="1085669" algn="l" defTabSz="361890" rtl="0" eaLnBrk="1" latinLnBrk="0" hangingPunct="1">
                <a:defRPr sz="1425" kern="1200">
                  <a:solidFill>
                    <a:schemeClr val="tx1"/>
                  </a:solidFill>
                  <a:latin typeface="+mn-lt"/>
                  <a:ea typeface="+mn-ea"/>
                  <a:cs typeface="+mn-cs"/>
                </a:defRPr>
              </a:lvl4pPr>
              <a:lvl5pPr marL="1447558" algn="l" defTabSz="361890" rtl="0" eaLnBrk="1" latinLnBrk="0" hangingPunct="1">
                <a:defRPr sz="1425" kern="1200">
                  <a:solidFill>
                    <a:schemeClr val="tx1"/>
                  </a:solidFill>
                  <a:latin typeface="+mn-lt"/>
                  <a:ea typeface="+mn-ea"/>
                  <a:cs typeface="+mn-cs"/>
                </a:defRPr>
              </a:lvl5pPr>
              <a:lvl6pPr marL="1809448" algn="l" defTabSz="361890" rtl="0" eaLnBrk="1" latinLnBrk="0" hangingPunct="1">
                <a:defRPr sz="1425" kern="1200">
                  <a:solidFill>
                    <a:schemeClr val="tx1"/>
                  </a:solidFill>
                  <a:latin typeface="+mn-lt"/>
                  <a:ea typeface="+mn-ea"/>
                  <a:cs typeface="+mn-cs"/>
                </a:defRPr>
              </a:lvl6pPr>
              <a:lvl7pPr marL="2171338" algn="l" defTabSz="361890" rtl="0" eaLnBrk="1" latinLnBrk="0" hangingPunct="1">
                <a:defRPr sz="1425" kern="1200">
                  <a:solidFill>
                    <a:schemeClr val="tx1"/>
                  </a:solidFill>
                  <a:latin typeface="+mn-lt"/>
                  <a:ea typeface="+mn-ea"/>
                  <a:cs typeface="+mn-cs"/>
                </a:defRPr>
              </a:lvl7pPr>
              <a:lvl8pPr marL="2533226" algn="l" defTabSz="361890" rtl="0" eaLnBrk="1" latinLnBrk="0" hangingPunct="1">
                <a:defRPr sz="1425" kern="1200">
                  <a:solidFill>
                    <a:schemeClr val="tx1"/>
                  </a:solidFill>
                  <a:latin typeface="+mn-lt"/>
                  <a:ea typeface="+mn-ea"/>
                  <a:cs typeface="+mn-cs"/>
                </a:defRPr>
              </a:lvl8pPr>
              <a:lvl9pPr marL="2895117" algn="l" defTabSz="361890" rtl="0" eaLnBrk="1" latinLnBrk="0" hangingPunct="1">
                <a:defRPr sz="1425" kern="1200">
                  <a:solidFill>
                    <a:schemeClr val="tx1"/>
                  </a:solidFill>
                  <a:latin typeface="+mn-lt"/>
                  <a:ea typeface="+mn-ea"/>
                  <a:cs typeface="+mn-cs"/>
                </a:defRPr>
              </a:lvl9p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Segoe UI Semibold" panose="020B0702040204020203" pitchFamily="34" charset="0"/>
                  <a:ea typeface="Aptos" panose="020B0004020202020204" pitchFamily="34" charset="0"/>
                  <a:cs typeface="Segoe UI Semibold" panose="020B0702040204020203" pitchFamily="34" charset="0"/>
                </a:rPr>
                <a:t>Interoperability</a:t>
              </a:r>
            </a:p>
          </p:txBody>
        </p:sp>
        <p:sp>
          <p:nvSpPr>
            <p:cNvPr id="11" name="TextBox 10">
              <a:extLst>
                <a:ext uri="{FF2B5EF4-FFF2-40B4-BE49-F238E27FC236}">
                  <a16:creationId xmlns:a16="http://schemas.microsoft.com/office/drawing/2014/main" id="{04410839-1051-D185-BE41-6938954F82CF}"/>
                </a:ext>
              </a:extLst>
            </p:cNvPr>
            <p:cNvSpPr txBox="1"/>
            <p:nvPr/>
          </p:nvSpPr>
          <p:spPr>
            <a:xfrm>
              <a:off x="3534267" y="5355975"/>
              <a:ext cx="1480051" cy="246221"/>
            </a:xfrm>
            <a:prstGeom prst="rect">
              <a:avLst/>
            </a:prstGeom>
            <a:noFill/>
          </p:spPr>
          <p:txBody>
            <a:bodyPr wrap="square" lIns="0" tIns="0" rIns="0" bIns="0" rtlCol="0" anchor="t">
              <a:spAutoFit/>
            </a:bodyPr>
            <a:lstStyle>
              <a:defPPr>
                <a:defRPr lang="en-US"/>
              </a:defPPr>
              <a:lvl1pPr marL="0" algn="l" defTabSz="361890" rtl="0" eaLnBrk="1" latinLnBrk="0" hangingPunct="1">
                <a:defRPr sz="1425" kern="1200">
                  <a:solidFill>
                    <a:schemeClr val="tx1"/>
                  </a:solidFill>
                  <a:latin typeface="+mn-lt"/>
                  <a:ea typeface="+mn-ea"/>
                  <a:cs typeface="+mn-cs"/>
                </a:defRPr>
              </a:lvl1pPr>
              <a:lvl2pPr marL="361890" algn="l" defTabSz="361890" rtl="0" eaLnBrk="1" latinLnBrk="0" hangingPunct="1">
                <a:defRPr sz="1425" kern="1200">
                  <a:solidFill>
                    <a:schemeClr val="tx1"/>
                  </a:solidFill>
                  <a:latin typeface="+mn-lt"/>
                  <a:ea typeface="+mn-ea"/>
                  <a:cs typeface="+mn-cs"/>
                </a:defRPr>
              </a:lvl2pPr>
              <a:lvl3pPr marL="723780" algn="l" defTabSz="361890" rtl="0" eaLnBrk="1" latinLnBrk="0" hangingPunct="1">
                <a:defRPr sz="1425" kern="1200">
                  <a:solidFill>
                    <a:schemeClr val="tx1"/>
                  </a:solidFill>
                  <a:latin typeface="+mn-lt"/>
                  <a:ea typeface="+mn-ea"/>
                  <a:cs typeface="+mn-cs"/>
                </a:defRPr>
              </a:lvl3pPr>
              <a:lvl4pPr marL="1085669" algn="l" defTabSz="361890" rtl="0" eaLnBrk="1" latinLnBrk="0" hangingPunct="1">
                <a:defRPr sz="1425" kern="1200">
                  <a:solidFill>
                    <a:schemeClr val="tx1"/>
                  </a:solidFill>
                  <a:latin typeface="+mn-lt"/>
                  <a:ea typeface="+mn-ea"/>
                  <a:cs typeface="+mn-cs"/>
                </a:defRPr>
              </a:lvl4pPr>
              <a:lvl5pPr marL="1447558" algn="l" defTabSz="361890" rtl="0" eaLnBrk="1" latinLnBrk="0" hangingPunct="1">
                <a:defRPr sz="1425" kern="1200">
                  <a:solidFill>
                    <a:schemeClr val="tx1"/>
                  </a:solidFill>
                  <a:latin typeface="+mn-lt"/>
                  <a:ea typeface="+mn-ea"/>
                  <a:cs typeface="+mn-cs"/>
                </a:defRPr>
              </a:lvl5pPr>
              <a:lvl6pPr marL="1809448" algn="l" defTabSz="361890" rtl="0" eaLnBrk="1" latinLnBrk="0" hangingPunct="1">
                <a:defRPr sz="1425" kern="1200">
                  <a:solidFill>
                    <a:schemeClr val="tx1"/>
                  </a:solidFill>
                  <a:latin typeface="+mn-lt"/>
                  <a:ea typeface="+mn-ea"/>
                  <a:cs typeface="+mn-cs"/>
                </a:defRPr>
              </a:lvl6pPr>
              <a:lvl7pPr marL="2171338" algn="l" defTabSz="361890" rtl="0" eaLnBrk="1" latinLnBrk="0" hangingPunct="1">
                <a:defRPr sz="1425" kern="1200">
                  <a:solidFill>
                    <a:schemeClr val="tx1"/>
                  </a:solidFill>
                  <a:latin typeface="+mn-lt"/>
                  <a:ea typeface="+mn-ea"/>
                  <a:cs typeface="+mn-cs"/>
                </a:defRPr>
              </a:lvl7pPr>
              <a:lvl8pPr marL="2533226" algn="l" defTabSz="361890" rtl="0" eaLnBrk="1" latinLnBrk="0" hangingPunct="1">
                <a:defRPr sz="1425" kern="1200">
                  <a:solidFill>
                    <a:schemeClr val="tx1"/>
                  </a:solidFill>
                  <a:latin typeface="+mn-lt"/>
                  <a:ea typeface="+mn-ea"/>
                  <a:cs typeface="+mn-cs"/>
                </a:defRPr>
              </a:lvl8pPr>
              <a:lvl9pPr marL="2895117" algn="l" defTabSz="361890" rtl="0" eaLnBrk="1" latinLnBrk="0" hangingPunct="1">
                <a:defRPr sz="1425" kern="1200">
                  <a:solidFill>
                    <a:schemeClr val="tx1"/>
                  </a:solidFill>
                  <a:latin typeface="+mn-lt"/>
                  <a:ea typeface="+mn-ea"/>
                  <a:cs typeface="+mn-cs"/>
                </a:defRPr>
              </a:lvl9p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Segoe UI Semibold" panose="020B0702040204020203" pitchFamily="34" charset="0"/>
                  <a:ea typeface="Aptos" panose="020B0004020202020204" pitchFamily="34" charset="0"/>
                  <a:cs typeface="Segoe UI Semibold" panose="020B0702040204020203" pitchFamily="34" charset="0"/>
                </a:rPr>
                <a:t>Access Control</a:t>
              </a:r>
            </a:p>
          </p:txBody>
        </p:sp>
        <p:sp>
          <p:nvSpPr>
            <p:cNvPr id="15" name="TextBox 14">
              <a:extLst>
                <a:ext uri="{FF2B5EF4-FFF2-40B4-BE49-F238E27FC236}">
                  <a16:creationId xmlns:a16="http://schemas.microsoft.com/office/drawing/2014/main" id="{048B87E5-328F-63E8-1F28-D45F747FA16F}"/>
                </a:ext>
              </a:extLst>
            </p:cNvPr>
            <p:cNvSpPr txBox="1"/>
            <p:nvPr/>
          </p:nvSpPr>
          <p:spPr>
            <a:xfrm>
              <a:off x="1707503" y="5355975"/>
              <a:ext cx="1492766" cy="246221"/>
            </a:xfrm>
            <a:prstGeom prst="rect">
              <a:avLst/>
            </a:prstGeom>
            <a:noFill/>
          </p:spPr>
          <p:txBody>
            <a:bodyPr wrap="square" lIns="0" tIns="0" rIns="0" bIns="0" rtlCol="0" anchor="t">
              <a:spAutoFit/>
            </a:bodyPr>
            <a:lstStyle>
              <a:defPPr>
                <a:defRPr lang="en-US"/>
              </a:defPPr>
              <a:lvl1pPr marL="0" algn="l" defTabSz="361890" rtl="0" eaLnBrk="1" latinLnBrk="0" hangingPunct="1">
                <a:defRPr sz="1425" kern="1200">
                  <a:solidFill>
                    <a:schemeClr val="tx1"/>
                  </a:solidFill>
                  <a:latin typeface="+mn-lt"/>
                  <a:ea typeface="+mn-ea"/>
                  <a:cs typeface="+mn-cs"/>
                </a:defRPr>
              </a:lvl1pPr>
              <a:lvl2pPr marL="361890" algn="l" defTabSz="361890" rtl="0" eaLnBrk="1" latinLnBrk="0" hangingPunct="1">
                <a:defRPr sz="1425" kern="1200">
                  <a:solidFill>
                    <a:schemeClr val="tx1"/>
                  </a:solidFill>
                  <a:latin typeface="+mn-lt"/>
                  <a:ea typeface="+mn-ea"/>
                  <a:cs typeface="+mn-cs"/>
                </a:defRPr>
              </a:lvl2pPr>
              <a:lvl3pPr marL="723780" algn="l" defTabSz="361890" rtl="0" eaLnBrk="1" latinLnBrk="0" hangingPunct="1">
                <a:defRPr sz="1425" kern="1200">
                  <a:solidFill>
                    <a:schemeClr val="tx1"/>
                  </a:solidFill>
                  <a:latin typeface="+mn-lt"/>
                  <a:ea typeface="+mn-ea"/>
                  <a:cs typeface="+mn-cs"/>
                </a:defRPr>
              </a:lvl3pPr>
              <a:lvl4pPr marL="1085669" algn="l" defTabSz="361890" rtl="0" eaLnBrk="1" latinLnBrk="0" hangingPunct="1">
                <a:defRPr sz="1425" kern="1200">
                  <a:solidFill>
                    <a:schemeClr val="tx1"/>
                  </a:solidFill>
                  <a:latin typeface="+mn-lt"/>
                  <a:ea typeface="+mn-ea"/>
                  <a:cs typeface="+mn-cs"/>
                </a:defRPr>
              </a:lvl4pPr>
              <a:lvl5pPr marL="1447558" algn="l" defTabSz="361890" rtl="0" eaLnBrk="1" latinLnBrk="0" hangingPunct="1">
                <a:defRPr sz="1425" kern="1200">
                  <a:solidFill>
                    <a:schemeClr val="tx1"/>
                  </a:solidFill>
                  <a:latin typeface="+mn-lt"/>
                  <a:ea typeface="+mn-ea"/>
                  <a:cs typeface="+mn-cs"/>
                </a:defRPr>
              </a:lvl5pPr>
              <a:lvl6pPr marL="1809448" algn="l" defTabSz="361890" rtl="0" eaLnBrk="1" latinLnBrk="0" hangingPunct="1">
                <a:defRPr sz="1425" kern="1200">
                  <a:solidFill>
                    <a:schemeClr val="tx1"/>
                  </a:solidFill>
                  <a:latin typeface="+mn-lt"/>
                  <a:ea typeface="+mn-ea"/>
                  <a:cs typeface="+mn-cs"/>
                </a:defRPr>
              </a:lvl6pPr>
              <a:lvl7pPr marL="2171338" algn="l" defTabSz="361890" rtl="0" eaLnBrk="1" latinLnBrk="0" hangingPunct="1">
                <a:defRPr sz="1425" kern="1200">
                  <a:solidFill>
                    <a:schemeClr val="tx1"/>
                  </a:solidFill>
                  <a:latin typeface="+mn-lt"/>
                  <a:ea typeface="+mn-ea"/>
                  <a:cs typeface="+mn-cs"/>
                </a:defRPr>
              </a:lvl7pPr>
              <a:lvl8pPr marL="2533226" algn="l" defTabSz="361890" rtl="0" eaLnBrk="1" latinLnBrk="0" hangingPunct="1">
                <a:defRPr sz="1425" kern="1200">
                  <a:solidFill>
                    <a:schemeClr val="tx1"/>
                  </a:solidFill>
                  <a:latin typeface="+mn-lt"/>
                  <a:ea typeface="+mn-ea"/>
                  <a:cs typeface="+mn-cs"/>
                </a:defRPr>
              </a:lvl8pPr>
              <a:lvl9pPr marL="2895117" algn="l" defTabSz="361890" rtl="0" eaLnBrk="1" latinLnBrk="0" hangingPunct="1">
                <a:defRPr sz="1425" kern="1200">
                  <a:solidFill>
                    <a:schemeClr val="tx1"/>
                  </a:solidFill>
                  <a:latin typeface="+mn-lt"/>
                  <a:ea typeface="+mn-ea"/>
                  <a:cs typeface="+mn-cs"/>
                </a:defRPr>
              </a:lvl9p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Registry</a:t>
              </a:r>
              <a:endParaRPr kumimoji="0" lang="en-US" sz="1600" b="1" i="0" u="none" strike="noStrike" kern="1200" cap="none" spc="0" normalizeH="0" baseline="0" noProof="0">
                <a:ln>
                  <a:noFill/>
                </a:ln>
                <a:solidFill>
                  <a:srgbClr val="002060"/>
                </a:solidFill>
                <a:effectLst/>
                <a:uLnTx/>
                <a:uFillTx/>
                <a:latin typeface="Segoe UI Semibold" panose="020B0702040204020203" pitchFamily="34" charset="0"/>
                <a:ea typeface="Aptos" panose="020B0004020202020204" pitchFamily="34" charset="0"/>
                <a:cs typeface="Segoe UI Semibold" panose="020B0702040204020203" pitchFamily="34" charset="0"/>
              </a:endParaRPr>
            </a:p>
          </p:txBody>
        </p:sp>
        <p:sp>
          <p:nvSpPr>
            <p:cNvPr id="18" name="TextBox 17">
              <a:extLst>
                <a:ext uri="{FF2B5EF4-FFF2-40B4-BE49-F238E27FC236}">
                  <a16:creationId xmlns:a16="http://schemas.microsoft.com/office/drawing/2014/main" id="{F9006984-9C15-282B-28C1-39F319F79880}"/>
                </a:ext>
              </a:extLst>
            </p:cNvPr>
            <p:cNvSpPr txBox="1"/>
            <p:nvPr/>
          </p:nvSpPr>
          <p:spPr>
            <a:xfrm>
              <a:off x="8761018" y="5355975"/>
              <a:ext cx="1957444" cy="246221"/>
            </a:xfrm>
            <a:prstGeom prst="rect">
              <a:avLst/>
            </a:prstGeom>
            <a:noFill/>
          </p:spPr>
          <p:txBody>
            <a:bodyPr wrap="square" lIns="0" tIns="0" rIns="0" bIns="0" rtlCol="0" anchor="t">
              <a:spAutoFit/>
            </a:bodyPr>
            <a:lstStyle>
              <a:defPPr>
                <a:defRPr lang="en-US"/>
              </a:defPPr>
              <a:lvl1pPr marL="0" algn="l" defTabSz="361890" rtl="0" eaLnBrk="1" latinLnBrk="0" hangingPunct="1">
                <a:defRPr sz="1425" kern="1200">
                  <a:solidFill>
                    <a:schemeClr val="tx1"/>
                  </a:solidFill>
                  <a:latin typeface="+mn-lt"/>
                  <a:ea typeface="+mn-ea"/>
                  <a:cs typeface="+mn-cs"/>
                </a:defRPr>
              </a:lvl1pPr>
              <a:lvl2pPr marL="361890" algn="l" defTabSz="361890" rtl="0" eaLnBrk="1" latinLnBrk="0" hangingPunct="1">
                <a:defRPr sz="1425" kern="1200">
                  <a:solidFill>
                    <a:schemeClr val="tx1"/>
                  </a:solidFill>
                  <a:latin typeface="+mn-lt"/>
                  <a:ea typeface="+mn-ea"/>
                  <a:cs typeface="+mn-cs"/>
                </a:defRPr>
              </a:lvl2pPr>
              <a:lvl3pPr marL="723780" algn="l" defTabSz="361890" rtl="0" eaLnBrk="1" latinLnBrk="0" hangingPunct="1">
                <a:defRPr sz="1425" kern="1200">
                  <a:solidFill>
                    <a:schemeClr val="tx1"/>
                  </a:solidFill>
                  <a:latin typeface="+mn-lt"/>
                  <a:ea typeface="+mn-ea"/>
                  <a:cs typeface="+mn-cs"/>
                </a:defRPr>
              </a:lvl3pPr>
              <a:lvl4pPr marL="1085669" algn="l" defTabSz="361890" rtl="0" eaLnBrk="1" latinLnBrk="0" hangingPunct="1">
                <a:defRPr sz="1425" kern="1200">
                  <a:solidFill>
                    <a:schemeClr val="tx1"/>
                  </a:solidFill>
                  <a:latin typeface="+mn-lt"/>
                  <a:ea typeface="+mn-ea"/>
                  <a:cs typeface="+mn-cs"/>
                </a:defRPr>
              </a:lvl4pPr>
              <a:lvl5pPr marL="1447558" algn="l" defTabSz="361890" rtl="0" eaLnBrk="1" latinLnBrk="0" hangingPunct="1">
                <a:defRPr sz="1425" kern="1200">
                  <a:solidFill>
                    <a:schemeClr val="tx1"/>
                  </a:solidFill>
                  <a:latin typeface="+mn-lt"/>
                  <a:ea typeface="+mn-ea"/>
                  <a:cs typeface="+mn-cs"/>
                </a:defRPr>
              </a:lvl5pPr>
              <a:lvl6pPr marL="1809448" algn="l" defTabSz="361890" rtl="0" eaLnBrk="1" latinLnBrk="0" hangingPunct="1">
                <a:defRPr sz="1425" kern="1200">
                  <a:solidFill>
                    <a:schemeClr val="tx1"/>
                  </a:solidFill>
                  <a:latin typeface="+mn-lt"/>
                  <a:ea typeface="+mn-ea"/>
                  <a:cs typeface="+mn-cs"/>
                </a:defRPr>
              </a:lvl6pPr>
              <a:lvl7pPr marL="2171338" algn="l" defTabSz="361890" rtl="0" eaLnBrk="1" latinLnBrk="0" hangingPunct="1">
                <a:defRPr sz="1425" kern="1200">
                  <a:solidFill>
                    <a:schemeClr val="tx1"/>
                  </a:solidFill>
                  <a:latin typeface="+mn-lt"/>
                  <a:ea typeface="+mn-ea"/>
                  <a:cs typeface="+mn-cs"/>
                </a:defRPr>
              </a:lvl7pPr>
              <a:lvl8pPr marL="2533226" algn="l" defTabSz="361890" rtl="0" eaLnBrk="1" latinLnBrk="0" hangingPunct="1">
                <a:defRPr sz="1425" kern="1200">
                  <a:solidFill>
                    <a:schemeClr val="tx1"/>
                  </a:solidFill>
                  <a:latin typeface="+mn-lt"/>
                  <a:ea typeface="+mn-ea"/>
                  <a:cs typeface="+mn-cs"/>
                </a:defRPr>
              </a:lvl8pPr>
              <a:lvl9pPr marL="2895117" algn="l" defTabSz="361890" rtl="0" eaLnBrk="1" latinLnBrk="0" hangingPunct="1">
                <a:defRPr sz="1425" kern="1200">
                  <a:solidFill>
                    <a:schemeClr val="tx1"/>
                  </a:solidFill>
                  <a:latin typeface="+mn-lt"/>
                  <a:ea typeface="+mn-ea"/>
                  <a:cs typeface="+mn-cs"/>
                </a:defRPr>
              </a:lvl9p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Segoe UI Semibold" panose="020B0702040204020203" pitchFamily="34" charset="0"/>
                  <a:ea typeface="Aptos" panose="020B0004020202020204" pitchFamily="34" charset="0"/>
                  <a:cs typeface="Segoe UI Semibold" panose="020B0702040204020203" pitchFamily="34" charset="0"/>
                </a:rPr>
                <a:t>Security</a:t>
              </a:r>
            </a:p>
          </p:txBody>
        </p:sp>
        <p:sp>
          <p:nvSpPr>
            <p:cNvPr id="21" name="TextBox 20">
              <a:extLst>
                <a:ext uri="{FF2B5EF4-FFF2-40B4-BE49-F238E27FC236}">
                  <a16:creationId xmlns:a16="http://schemas.microsoft.com/office/drawing/2014/main" id="{33FE5689-7C45-EFD4-E793-E6E19CF8A3ED}"/>
                </a:ext>
              </a:extLst>
            </p:cNvPr>
            <p:cNvSpPr txBox="1"/>
            <p:nvPr/>
          </p:nvSpPr>
          <p:spPr>
            <a:xfrm>
              <a:off x="5462988" y="5355975"/>
              <a:ext cx="1266024" cy="246221"/>
            </a:xfrm>
            <a:prstGeom prst="rect">
              <a:avLst/>
            </a:prstGeom>
            <a:noFill/>
          </p:spPr>
          <p:txBody>
            <a:bodyPr wrap="square" lIns="0" tIns="0" rIns="0" bIns="0" rtlCol="0" anchor="t">
              <a:spAutoFit/>
            </a:bodyPr>
            <a:lstStyle>
              <a:defPPr>
                <a:defRPr lang="en-US"/>
              </a:defPPr>
              <a:lvl1pPr marL="0" algn="l" defTabSz="361890" rtl="0" eaLnBrk="1" latinLnBrk="0" hangingPunct="1">
                <a:defRPr sz="1425" kern="1200">
                  <a:solidFill>
                    <a:schemeClr val="tx1"/>
                  </a:solidFill>
                  <a:latin typeface="+mn-lt"/>
                  <a:ea typeface="+mn-ea"/>
                  <a:cs typeface="+mn-cs"/>
                </a:defRPr>
              </a:lvl1pPr>
              <a:lvl2pPr marL="361890" algn="l" defTabSz="361890" rtl="0" eaLnBrk="1" latinLnBrk="0" hangingPunct="1">
                <a:defRPr sz="1425" kern="1200">
                  <a:solidFill>
                    <a:schemeClr val="tx1"/>
                  </a:solidFill>
                  <a:latin typeface="+mn-lt"/>
                  <a:ea typeface="+mn-ea"/>
                  <a:cs typeface="+mn-cs"/>
                </a:defRPr>
              </a:lvl2pPr>
              <a:lvl3pPr marL="723780" algn="l" defTabSz="361890" rtl="0" eaLnBrk="1" latinLnBrk="0" hangingPunct="1">
                <a:defRPr sz="1425" kern="1200">
                  <a:solidFill>
                    <a:schemeClr val="tx1"/>
                  </a:solidFill>
                  <a:latin typeface="+mn-lt"/>
                  <a:ea typeface="+mn-ea"/>
                  <a:cs typeface="+mn-cs"/>
                </a:defRPr>
              </a:lvl3pPr>
              <a:lvl4pPr marL="1085669" algn="l" defTabSz="361890" rtl="0" eaLnBrk="1" latinLnBrk="0" hangingPunct="1">
                <a:defRPr sz="1425" kern="1200">
                  <a:solidFill>
                    <a:schemeClr val="tx1"/>
                  </a:solidFill>
                  <a:latin typeface="+mn-lt"/>
                  <a:ea typeface="+mn-ea"/>
                  <a:cs typeface="+mn-cs"/>
                </a:defRPr>
              </a:lvl4pPr>
              <a:lvl5pPr marL="1447558" algn="l" defTabSz="361890" rtl="0" eaLnBrk="1" latinLnBrk="0" hangingPunct="1">
                <a:defRPr sz="1425" kern="1200">
                  <a:solidFill>
                    <a:schemeClr val="tx1"/>
                  </a:solidFill>
                  <a:latin typeface="+mn-lt"/>
                  <a:ea typeface="+mn-ea"/>
                  <a:cs typeface="+mn-cs"/>
                </a:defRPr>
              </a:lvl5pPr>
              <a:lvl6pPr marL="1809448" algn="l" defTabSz="361890" rtl="0" eaLnBrk="1" latinLnBrk="0" hangingPunct="1">
                <a:defRPr sz="1425" kern="1200">
                  <a:solidFill>
                    <a:schemeClr val="tx1"/>
                  </a:solidFill>
                  <a:latin typeface="+mn-lt"/>
                  <a:ea typeface="+mn-ea"/>
                  <a:cs typeface="+mn-cs"/>
                </a:defRPr>
              </a:lvl6pPr>
              <a:lvl7pPr marL="2171338" algn="l" defTabSz="361890" rtl="0" eaLnBrk="1" latinLnBrk="0" hangingPunct="1">
                <a:defRPr sz="1425" kern="1200">
                  <a:solidFill>
                    <a:schemeClr val="tx1"/>
                  </a:solidFill>
                  <a:latin typeface="+mn-lt"/>
                  <a:ea typeface="+mn-ea"/>
                  <a:cs typeface="+mn-cs"/>
                </a:defRPr>
              </a:lvl7pPr>
              <a:lvl8pPr marL="2533226" algn="l" defTabSz="361890" rtl="0" eaLnBrk="1" latinLnBrk="0" hangingPunct="1">
                <a:defRPr sz="1425" kern="1200">
                  <a:solidFill>
                    <a:schemeClr val="tx1"/>
                  </a:solidFill>
                  <a:latin typeface="+mn-lt"/>
                  <a:ea typeface="+mn-ea"/>
                  <a:cs typeface="+mn-cs"/>
                </a:defRPr>
              </a:lvl8pPr>
              <a:lvl9pPr marL="2895117" algn="l" defTabSz="361890" rtl="0" eaLnBrk="1" latinLnBrk="0" hangingPunct="1">
                <a:defRPr sz="1425" kern="1200">
                  <a:solidFill>
                    <a:schemeClr val="tx1"/>
                  </a:solidFill>
                  <a:latin typeface="+mn-lt"/>
                  <a:ea typeface="+mn-ea"/>
                  <a:cs typeface="+mn-cs"/>
                </a:defRPr>
              </a:lvl9p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Segoe UI Semibold" panose="020B0702040204020203" pitchFamily="34" charset="0"/>
                  <a:ea typeface="Aptos" panose="020B0004020202020204" pitchFamily="34" charset="0"/>
                  <a:cs typeface="Segoe UI Semibold" panose="020B0702040204020203" pitchFamily="34" charset="0"/>
                </a:rPr>
                <a:t>Visualization</a:t>
              </a:r>
            </a:p>
          </p:txBody>
        </p:sp>
      </p:grpSp>
      <p:sp>
        <p:nvSpPr>
          <p:cNvPr id="2" name="Rounded Rectangle 7">
            <a:extLst>
              <a:ext uri="{FF2B5EF4-FFF2-40B4-BE49-F238E27FC236}">
                <a16:creationId xmlns:a16="http://schemas.microsoft.com/office/drawing/2014/main" id="{D7B00F06-C84E-72D9-68C4-9E3CF6583EF7}"/>
              </a:ext>
            </a:extLst>
          </p:cNvPr>
          <p:cNvSpPr/>
          <p:nvPr/>
        </p:nvSpPr>
        <p:spPr>
          <a:xfrm>
            <a:off x="1287439" y="922211"/>
            <a:ext cx="9617122" cy="5173790"/>
          </a:xfrm>
          <a:prstGeom prst="roundRect">
            <a:avLst>
              <a:gd name="adj" fmla="val 4038"/>
            </a:avLst>
          </a:prstGeom>
          <a:noFill/>
          <a:ln w="15875">
            <a:gradFill>
              <a:gsLst>
                <a:gs pos="100000">
                  <a:schemeClr val="accent5"/>
                </a:gs>
                <a:gs pos="50000">
                  <a:schemeClr val="bg2"/>
                </a:gs>
                <a:gs pos="8000">
                  <a:schemeClr val="accent1"/>
                </a:gs>
              </a:gsLst>
              <a:lin ang="2700000" scaled="0"/>
            </a:gradFill>
          </a:ln>
          <a:effectLst>
            <a:innerShdw blurRad="1049316" dist="1035217" dir="7560000">
              <a:schemeClr val="bg1">
                <a:alpha val="50000"/>
              </a:scheme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361890" rtl="0" eaLnBrk="1" latinLnBrk="0" hangingPunct="1">
              <a:defRPr sz="1425" kern="1200">
                <a:solidFill>
                  <a:schemeClr val="tx1"/>
                </a:solidFill>
                <a:latin typeface="+mn-lt"/>
                <a:ea typeface="+mn-ea"/>
                <a:cs typeface="+mn-cs"/>
              </a:defRPr>
            </a:lvl1pPr>
            <a:lvl2pPr marL="361890" algn="l" defTabSz="361890" rtl="0" eaLnBrk="1" latinLnBrk="0" hangingPunct="1">
              <a:defRPr sz="1425" kern="1200">
                <a:solidFill>
                  <a:schemeClr val="tx1"/>
                </a:solidFill>
                <a:latin typeface="+mn-lt"/>
                <a:ea typeface="+mn-ea"/>
                <a:cs typeface="+mn-cs"/>
              </a:defRPr>
            </a:lvl2pPr>
            <a:lvl3pPr marL="723780" algn="l" defTabSz="361890" rtl="0" eaLnBrk="1" latinLnBrk="0" hangingPunct="1">
              <a:defRPr sz="1425" kern="1200">
                <a:solidFill>
                  <a:schemeClr val="tx1"/>
                </a:solidFill>
                <a:latin typeface="+mn-lt"/>
                <a:ea typeface="+mn-ea"/>
                <a:cs typeface="+mn-cs"/>
              </a:defRPr>
            </a:lvl3pPr>
            <a:lvl4pPr marL="1085669" algn="l" defTabSz="361890" rtl="0" eaLnBrk="1" latinLnBrk="0" hangingPunct="1">
              <a:defRPr sz="1425" kern="1200">
                <a:solidFill>
                  <a:schemeClr val="tx1"/>
                </a:solidFill>
                <a:latin typeface="+mn-lt"/>
                <a:ea typeface="+mn-ea"/>
                <a:cs typeface="+mn-cs"/>
              </a:defRPr>
            </a:lvl4pPr>
            <a:lvl5pPr marL="1447558" algn="l" defTabSz="361890" rtl="0" eaLnBrk="1" latinLnBrk="0" hangingPunct="1">
              <a:defRPr sz="1425" kern="1200">
                <a:solidFill>
                  <a:schemeClr val="tx1"/>
                </a:solidFill>
                <a:latin typeface="+mn-lt"/>
                <a:ea typeface="+mn-ea"/>
                <a:cs typeface="+mn-cs"/>
              </a:defRPr>
            </a:lvl5pPr>
            <a:lvl6pPr marL="1809448" algn="l" defTabSz="361890" rtl="0" eaLnBrk="1" latinLnBrk="0" hangingPunct="1">
              <a:defRPr sz="1425" kern="1200">
                <a:solidFill>
                  <a:schemeClr val="tx1"/>
                </a:solidFill>
                <a:latin typeface="+mn-lt"/>
                <a:ea typeface="+mn-ea"/>
                <a:cs typeface="+mn-cs"/>
              </a:defRPr>
            </a:lvl6pPr>
            <a:lvl7pPr marL="2171338" algn="l" defTabSz="361890" rtl="0" eaLnBrk="1" latinLnBrk="0" hangingPunct="1">
              <a:defRPr sz="1425" kern="1200">
                <a:solidFill>
                  <a:schemeClr val="tx1"/>
                </a:solidFill>
                <a:latin typeface="+mn-lt"/>
                <a:ea typeface="+mn-ea"/>
                <a:cs typeface="+mn-cs"/>
              </a:defRPr>
            </a:lvl7pPr>
            <a:lvl8pPr marL="2533226" algn="l" defTabSz="361890" rtl="0" eaLnBrk="1" latinLnBrk="0" hangingPunct="1">
              <a:defRPr sz="1425" kern="1200">
                <a:solidFill>
                  <a:schemeClr val="tx1"/>
                </a:solidFill>
                <a:latin typeface="+mn-lt"/>
                <a:ea typeface="+mn-ea"/>
                <a:cs typeface="+mn-cs"/>
              </a:defRPr>
            </a:lvl8pPr>
            <a:lvl9pPr marL="2895117" algn="l" defTabSz="361890" rtl="0" eaLnBrk="1" latinLnBrk="0" hangingPunct="1">
              <a:defRPr sz="1425" kern="1200">
                <a:solidFill>
                  <a:schemeClr val="tx1"/>
                </a:solidFill>
                <a:latin typeface="+mn-lt"/>
                <a:ea typeface="+mn-ea"/>
                <a:cs typeface="+mn-cs"/>
              </a:defRPr>
            </a:lvl9pPr>
          </a:lstStyle>
          <a:p>
            <a:pPr marL="0" marR="0" lvl="0" indent="0" algn="ctr" defTabSz="361890" rtl="0" eaLnBrk="1" fontAlgn="auto" latinLnBrk="0" hangingPunct="1">
              <a:lnSpc>
                <a:spcPct val="100000"/>
              </a:lnSpc>
              <a:spcBef>
                <a:spcPts val="0"/>
              </a:spcBef>
              <a:spcAft>
                <a:spcPts val="0"/>
              </a:spcAft>
              <a:buClrTx/>
              <a:buSzTx/>
              <a:buFontTx/>
              <a:buNone/>
              <a:tabLst/>
              <a:defRPr/>
            </a:pPr>
            <a:endParaRPr kumimoji="0" lang="en-US" sz="1425"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Rounded Rectangle 3">
            <a:extLst>
              <a:ext uri="{FF2B5EF4-FFF2-40B4-BE49-F238E27FC236}">
                <a16:creationId xmlns:a16="http://schemas.microsoft.com/office/drawing/2014/main" id="{83371BBE-2017-77CF-3BC4-CE6B0590C74C}"/>
              </a:ext>
            </a:extLst>
          </p:cNvPr>
          <p:cNvSpPr/>
          <p:nvPr/>
        </p:nvSpPr>
        <p:spPr bwMode="auto">
          <a:xfrm>
            <a:off x="4767551" y="641305"/>
            <a:ext cx="2656898" cy="499989"/>
          </a:xfrm>
          <a:prstGeom prst="roundRect">
            <a:avLst>
              <a:gd name="adj" fmla="val 35235"/>
            </a:avLst>
          </a:prstGeom>
          <a:gradFill flip="none" rotWithShape="1">
            <a:gsLst>
              <a:gs pos="98000">
                <a:schemeClr val="accent5"/>
              </a:gs>
              <a:gs pos="56000">
                <a:srgbClr val="B9DAFF"/>
              </a:gs>
              <a:gs pos="0">
                <a:schemeClr val="accent3"/>
              </a:gs>
              <a:gs pos="24000">
                <a:schemeClr val="bg2"/>
              </a:gs>
            </a:gsLst>
            <a:path path="circle">
              <a:fillToRect r="100000" b="100000"/>
            </a:path>
            <a:tileRect l="-100000" t="-100000"/>
          </a:gradFill>
          <a:effectLst>
            <a:outerShdw blurRad="235855" sx="102000" sy="102000" algn="ctr" rotWithShape="0">
              <a:prstClr val="black">
                <a:alpha val="22000"/>
              </a:prstClr>
            </a:outerShdw>
          </a:effectLst>
        </p:spPr>
        <p:txBody>
          <a:bodyPr wrap="none" lIns="137160" tIns="36000" rIns="137160" bIns="54864" rtlCol="0" anchor="ctr" anchorCtr="0">
            <a:spAutoFit/>
          </a:bodyPr>
          <a:lstStyle>
            <a:defPPr>
              <a:defRPr lang="en-US"/>
            </a:defPPr>
            <a:lvl1pPr marL="0" algn="l" defTabSz="361890" rtl="0" eaLnBrk="1" latinLnBrk="0" hangingPunct="1">
              <a:defRPr sz="1425" kern="1200">
                <a:solidFill>
                  <a:schemeClr val="tx1"/>
                </a:solidFill>
                <a:latin typeface="+mn-lt"/>
                <a:ea typeface="+mn-ea"/>
                <a:cs typeface="+mn-cs"/>
              </a:defRPr>
            </a:lvl1pPr>
            <a:lvl2pPr marL="361890" algn="l" defTabSz="361890" rtl="0" eaLnBrk="1" latinLnBrk="0" hangingPunct="1">
              <a:defRPr sz="1425" kern="1200">
                <a:solidFill>
                  <a:schemeClr val="tx1"/>
                </a:solidFill>
                <a:latin typeface="+mn-lt"/>
                <a:ea typeface="+mn-ea"/>
                <a:cs typeface="+mn-cs"/>
              </a:defRPr>
            </a:lvl2pPr>
            <a:lvl3pPr marL="723780" algn="l" defTabSz="361890" rtl="0" eaLnBrk="1" latinLnBrk="0" hangingPunct="1">
              <a:defRPr sz="1425" kern="1200">
                <a:solidFill>
                  <a:schemeClr val="tx1"/>
                </a:solidFill>
                <a:latin typeface="+mn-lt"/>
                <a:ea typeface="+mn-ea"/>
                <a:cs typeface="+mn-cs"/>
              </a:defRPr>
            </a:lvl3pPr>
            <a:lvl4pPr marL="1085669" algn="l" defTabSz="361890" rtl="0" eaLnBrk="1" latinLnBrk="0" hangingPunct="1">
              <a:defRPr sz="1425" kern="1200">
                <a:solidFill>
                  <a:schemeClr val="tx1"/>
                </a:solidFill>
                <a:latin typeface="+mn-lt"/>
                <a:ea typeface="+mn-ea"/>
                <a:cs typeface="+mn-cs"/>
              </a:defRPr>
            </a:lvl4pPr>
            <a:lvl5pPr marL="1447558" algn="l" defTabSz="361890" rtl="0" eaLnBrk="1" latinLnBrk="0" hangingPunct="1">
              <a:defRPr sz="1425" kern="1200">
                <a:solidFill>
                  <a:schemeClr val="tx1"/>
                </a:solidFill>
                <a:latin typeface="+mn-lt"/>
                <a:ea typeface="+mn-ea"/>
                <a:cs typeface="+mn-cs"/>
              </a:defRPr>
            </a:lvl5pPr>
            <a:lvl6pPr marL="1809448" algn="l" defTabSz="361890" rtl="0" eaLnBrk="1" latinLnBrk="0" hangingPunct="1">
              <a:defRPr sz="1425" kern="1200">
                <a:solidFill>
                  <a:schemeClr val="tx1"/>
                </a:solidFill>
                <a:latin typeface="+mn-lt"/>
                <a:ea typeface="+mn-ea"/>
                <a:cs typeface="+mn-cs"/>
              </a:defRPr>
            </a:lvl6pPr>
            <a:lvl7pPr marL="2171338" algn="l" defTabSz="361890" rtl="0" eaLnBrk="1" latinLnBrk="0" hangingPunct="1">
              <a:defRPr sz="1425" kern="1200">
                <a:solidFill>
                  <a:schemeClr val="tx1"/>
                </a:solidFill>
                <a:latin typeface="+mn-lt"/>
                <a:ea typeface="+mn-ea"/>
                <a:cs typeface="+mn-cs"/>
              </a:defRPr>
            </a:lvl7pPr>
            <a:lvl8pPr marL="2533226" algn="l" defTabSz="361890" rtl="0" eaLnBrk="1" latinLnBrk="0" hangingPunct="1">
              <a:defRPr sz="1425" kern="1200">
                <a:solidFill>
                  <a:schemeClr val="tx1"/>
                </a:solidFill>
                <a:latin typeface="+mn-lt"/>
                <a:ea typeface="+mn-ea"/>
                <a:cs typeface="+mn-cs"/>
              </a:defRPr>
            </a:lvl8pPr>
            <a:lvl9pPr marL="2895117" algn="l" defTabSz="361890" rtl="0" eaLnBrk="1" latinLnBrk="0" hangingPunct="1">
              <a:defRPr sz="1425" kern="1200">
                <a:solidFill>
                  <a:schemeClr val="tx1"/>
                </a:solidFill>
                <a:latin typeface="+mn-lt"/>
                <a:ea typeface="+mn-ea"/>
                <a:cs typeface="+mn-cs"/>
              </a:defRPr>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r>
              <a:rPr kumimoji="0" lang="en-US" sz="2000" b="0" i="0" u="none" strike="noStrike" kern="1200" cap="none" spc="-50" normalizeH="0" baseline="0" noProof="0">
                <a:ln w="3175">
                  <a:noFill/>
                </a:ln>
                <a:solidFill>
                  <a:srgbClr val="1B44B1"/>
                </a:solidFill>
                <a:effectLst/>
                <a:uLnTx/>
                <a:uFillTx/>
                <a:latin typeface="Segoe Sans Display Semibold"/>
                <a:ea typeface="+mn-ea"/>
                <a:cs typeface="Segoe Sans Display" pitchFamily="2" charset="0"/>
              </a:rPr>
              <a:t>Microsoft Agent 365</a:t>
            </a:r>
          </a:p>
        </p:txBody>
      </p:sp>
      <p:sp>
        <p:nvSpPr>
          <p:cNvPr id="33" name="!!overlay">
            <a:extLst>
              <a:ext uri="{FF2B5EF4-FFF2-40B4-BE49-F238E27FC236}">
                <a16:creationId xmlns:a16="http://schemas.microsoft.com/office/drawing/2014/main" id="{50DD3768-C1A1-6AA5-CFA7-2D9C279488AD}"/>
              </a:ext>
            </a:extLst>
          </p:cNvPr>
          <p:cNvSpPr/>
          <p:nvPr/>
        </p:nvSpPr>
        <p:spPr bwMode="auto">
          <a:xfrm>
            <a:off x="5505365" y="3096768"/>
            <a:ext cx="1181270" cy="664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B796FA53-4285-15E5-B00B-F23CEC564099}"/>
              </a:ext>
            </a:extLst>
          </p:cNvPr>
          <p:cNvSpPr txBox="1"/>
          <p:nvPr/>
        </p:nvSpPr>
        <p:spPr>
          <a:xfrm>
            <a:off x="3704567" y="1341774"/>
            <a:ext cx="4782867" cy="340991"/>
          </a:xfrm>
          <a:prstGeom prst="rect">
            <a:avLst/>
          </a:prstGeom>
          <a:noFill/>
        </p:spPr>
        <p:txBody>
          <a:bodyPr wrap="square" lIns="0" tIns="0" rIns="0" bIns="0" rtlCol="0" anchor="t">
            <a:spAutoFit/>
          </a:body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en-US" sz="2216" b="1" i="0" u="none" strike="noStrike" kern="1200" cap="none" spc="0" normalizeH="0" baseline="0" noProof="0" dirty="0">
                <a:ln>
                  <a:noFill/>
                </a:ln>
                <a:solidFill>
                  <a:srgbClr val="000000"/>
                </a:solidFill>
                <a:effectLst/>
                <a:uLnTx/>
                <a:uFillTx/>
                <a:latin typeface="Segoe UI Variable Display Semibold" pitchFamily="2" charset="0"/>
                <a:ea typeface="+mn-ea"/>
                <a:cs typeface="Segoe UI Semibold" panose="020B0702040204020203" pitchFamily="34" charset="0"/>
              </a:rPr>
              <a:t>Il “control plane” per </a:t>
            </a:r>
            <a:r>
              <a:rPr kumimoji="0" lang="en-US" sz="2216" b="1" i="0" u="none" strike="noStrike" kern="1200" cap="none" spc="0" normalizeH="0" baseline="0" noProof="0" dirty="0" err="1">
                <a:ln>
                  <a:noFill/>
                </a:ln>
                <a:solidFill>
                  <a:srgbClr val="000000"/>
                </a:solidFill>
                <a:effectLst/>
                <a:uLnTx/>
                <a:uFillTx/>
                <a:latin typeface="Segoe UI Variable Display Semibold" pitchFamily="2" charset="0"/>
                <a:ea typeface="+mn-ea"/>
                <a:cs typeface="Segoe UI Semibold" panose="020B0702040204020203" pitchFamily="34" charset="0"/>
              </a:rPr>
              <a:t>i</a:t>
            </a:r>
            <a:r>
              <a:rPr kumimoji="0" lang="en-US" sz="2216" b="1" i="0" u="none" strike="noStrike" kern="1200" cap="none" spc="0" normalizeH="0" baseline="0" noProof="0" dirty="0">
                <a:ln>
                  <a:noFill/>
                </a:ln>
                <a:solidFill>
                  <a:srgbClr val="000000"/>
                </a:solidFill>
                <a:effectLst/>
                <a:uLnTx/>
                <a:uFillTx/>
                <a:latin typeface="Segoe UI Variable Display Semibold" pitchFamily="2" charset="0"/>
                <a:ea typeface="+mn-ea"/>
                <a:cs typeface="Segoe UI Semibold" panose="020B0702040204020203" pitchFamily="34" charset="0"/>
              </a:rPr>
              <a:t> </a:t>
            </a:r>
            <a:r>
              <a:rPr kumimoji="0" lang="en-US" sz="2216" b="1" i="0" u="none" strike="noStrike" kern="1200" cap="none" spc="0" normalizeH="0" baseline="0" noProof="0" dirty="0" err="1">
                <a:ln>
                  <a:noFill/>
                </a:ln>
                <a:solidFill>
                  <a:srgbClr val="000000"/>
                </a:solidFill>
                <a:effectLst/>
                <a:uLnTx/>
                <a:uFillTx/>
                <a:latin typeface="Segoe UI Variable Display Semibold" pitchFamily="2" charset="0"/>
                <a:ea typeface="+mn-ea"/>
                <a:cs typeface="Segoe UI Semibold" panose="020B0702040204020203" pitchFamily="34" charset="0"/>
              </a:rPr>
              <a:t>nostri</a:t>
            </a:r>
            <a:r>
              <a:rPr kumimoji="0" lang="en-US" sz="2216" b="1" i="0" u="none" strike="noStrike" kern="1200" cap="none" spc="0" normalizeH="0" baseline="0" noProof="0" dirty="0">
                <a:ln>
                  <a:noFill/>
                </a:ln>
                <a:solidFill>
                  <a:srgbClr val="000000"/>
                </a:solidFill>
                <a:effectLst/>
                <a:uLnTx/>
                <a:uFillTx/>
                <a:latin typeface="Segoe UI Variable Display Semibold" pitchFamily="2" charset="0"/>
                <a:ea typeface="+mn-ea"/>
                <a:cs typeface="Segoe UI Semibold" panose="020B0702040204020203" pitchFamily="34" charset="0"/>
              </a:rPr>
              <a:t> </a:t>
            </a:r>
            <a:r>
              <a:rPr kumimoji="0" lang="en-US" sz="2216" b="1" i="0" u="none" strike="noStrike" kern="1200" cap="none" spc="0" normalizeH="0" baseline="0" noProof="0" dirty="0" err="1">
                <a:ln>
                  <a:noFill/>
                </a:ln>
                <a:solidFill>
                  <a:srgbClr val="000000"/>
                </a:solidFill>
                <a:effectLst/>
                <a:uLnTx/>
                <a:uFillTx/>
                <a:latin typeface="Segoe UI Variable Display Semibold" pitchFamily="2" charset="0"/>
                <a:ea typeface="+mn-ea"/>
                <a:cs typeface="Segoe UI Semibold" panose="020B0702040204020203" pitchFamily="34" charset="0"/>
              </a:rPr>
              <a:t>agenti</a:t>
            </a:r>
            <a:endParaRPr kumimoji="0" lang="en-US" sz="2216" b="1" i="0" u="none" strike="noStrike" kern="1200" cap="none" spc="0" normalizeH="0" baseline="0" noProof="0" dirty="0">
              <a:ln>
                <a:noFill/>
              </a:ln>
              <a:solidFill>
                <a:srgbClr val="000000"/>
              </a:solidFill>
              <a:effectLst/>
              <a:uLnTx/>
              <a:uFillTx/>
              <a:latin typeface="Segoe UI Variable Display Semibold" pitchFamily="2" charset="0"/>
              <a:ea typeface="+mn-ea"/>
              <a:cs typeface="Segoe UI Semibold" panose="020B0702040204020203" pitchFamily="34" charset="0"/>
            </a:endParaRPr>
          </a:p>
        </p:txBody>
      </p:sp>
      <p:grpSp>
        <p:nvGrpSpPr>
          <p:cNvPr id="32" name="Group 31">
            <a:extLst>
              <a:ext uri="{FF2B5EF4-FFF2-40B4-BE49-F238E27FC236}">
                <a16:creationId xmlns:a16="http://schemas.microsoft.com/office/drawing/2014/main" id="{46D67164-6DEB-420B-358A-DB37BC8CCD1C}"/>
              </a:ext>
            </a:extLst>
          </p:cNvPr>
          <p:cNvGrpSpPr/>
          <p:nvPr/>
        </p:nvGrpSpPr>
        <p:grpSpPr>
          <a:xfrm>
            <a:off x="2178092" y="4656414"/>
            <a:ext cx="7837442" cy="551588"/>
            <a:chOff x="2178092" y="4579140"/>
            <a:chExt cx="7837442" cy="551588"/>
          </a:xfrm>
        </p:grpSpPr>
        <p:grpSp>
          <p:nvGrpSpPr>
            <p:cNvPr id="19" name="Group 18">
              <a:extLst>
                <a:ext uri="{FF2B5EF4-FFF2-40B4-BE49-F238E27FC236}">
                  <a16:creationId xmlns:a16="http://schemas.microsoft.com/office/drawing/2014/main" id="{5F44EBE0-1ADD-8AE1-2CB0-00CBF80054AB}"/>
                </a:ext>
              </a:extLst>
            </p:cNvPr>
            <p:cNvGrpSpPr/>
            <p:nvPr/>
          </p:nvGrpSpPr>
          <p:grpSpPr>
            <a:xfrm>
              <a:off x="2178092" y="4579140"/>
              <a:ext cx="7837442" cy="551588"/>
              <a:chOff x="2178092" y="4624150"/>
              <a:chExt cx="7837442" cy="551588"/>
            </a:xfrm>
            <a:gradFill>
              <a:gsLst>
                <a:gs pos="98000">
                  <a:schemeClr val="accent5"/>
                </a:gs>
                <a:gs pos="56000">
                  <a:srgbClr val="B9DAFF"/>
                </a:gs>
                <a:gs pos="0">
                  <a:schemeClr val="accent3"/>
                </a:gs>
                <a:gs pos="24000">
                  <a:schemeClr val="bg2"/>
                </a:gs>
              </a:gsLst>
              <a:path path="circle">
                <a:fillToRect r="100000" b="100000"/>
              </a:path>
            </a:gradFill>
          </p:grpSpPr>
          <p:sp>
            <p:nvSpPr>
              <p:cNvPr id="145" name="Oval 144">
                <a:extLst>
                  <a:ext uri="{FF2B5EF4-FFF2-40B4-BE49-F238E27FC236}">
                    <a16:creationId xmlns:a16="http://schemas.microsoft.com/office/drawing/2014/main" id="{E3E826E6-D749-0C0D-2A13-71085FFBFBE2}"/>
                  </a:ext>
                </a:extLst>
              </p:cNvPr>
              <p:cNvSpPr/>
              <p:nvPr/>
            </p:nvSpPr>
            <p:spPr bwMode="auto">
              <a:xfrm>
                <a:off x="5820206" y="4624150"/>
                <a:ext cx="551588" cy="5515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44" name="Oval 143">
                <a:extLst>
                  <a:ext uri="{FF2B5EF4-FFF2-40B4-BE49-F238E27FC236}">
                    <a16:creationId xmlns:a16="http://schemas.microsoft.com/office/drawing/2014/main" id="{336117D3-BAFC-3387-064B-17BF70C4EC87}"/>
                  </a:ext>
                </a:extLst>
              </p:cNvPr>
              <p:cNvSpPr/>
              <p:nvPr/>
            </p:nvSpPr>
            <p:spPr bwMode="auto">
              <a:xfrm>
                <a:off x="3998498" y="4624150"/>
                <a:ext cx="551588" cy="5515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47" name="Oval 146">
                <a:extLst>
                  <a:ext uri="{FF2B5EF4-FFF2-40B4-BE49-F238E27FC236}">
                    <a16:creationId xmlns:a16="http://schemas.microsoft.com/office/drawing/2014/main" id="{63E5BECC-2E45-D882-937A-5BEE5EB2AA78}"/>
                  </a:ext>
                </a:extLst>
              </p:cNvPr>
              <p:cNvSpPr/>
              <p:nvPr/>
            </p:nvSpPr>
            <p:spPr bwMode="auto">
              <a:xfrm>
                <a:off x="9463946" y="4624150"/>
                <a:ext cx="551588" cy="5515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43" name="Oval 142">
                <a:extLst>
                  <a:ext uri="{FF2B5EF4-FFF2-40B4-BE49-F238E27FC236}">
                    <a16:creationId xmlns:a16="http://schemas.microsoft.com/office/drawing/2014/main" id="{6263327F-4075-F6D6-D2B5-C14C726C723E}"/>
                  </a:ext>
                </a:extLst>
              </p:cNvPr>
              <p:cNvSpPr/>
              <p:nvPr/>
            </p:nvSpPr>
            <p:spPr bwMode="auto">
              <a:xfrm>
                <a:off x="2178092" y="4624150"/>
                <a:ext cx="551588" cy="5515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46" name="Oval 145">
                <a:extLst>
                  <a:ext uri="{FF2B5EF4-FFF2-40B4-BE49-F238E27FC236}">
                    <a16:creationId xmlns:a16="http://schemas.microsoft.com/office/drawing/2014/main" id="{8754D91C-1015-2417-4B4E-C0BEB4973835}"/>
                  </a:ext>
                </a:extLst>
              </p:cNvPr>
              <p:cNvSpPr/>
              <p:nvPr/>
            </p:nvSpPr>
            <p:spPr bwMode="auto">
              <a:xfrm>
                <a:off x="7638652" y="4624150"/>
                <a:ext cx="551588" cy="5515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pSp>
        <p:sp>
          <p:nvSpPr>
            <p:cNvPr id="12" name="Graphic 119">
              <a:extLst>
                <a:ext uri="{FF2B5EF4-FFF2-40B4-BE49-F238E27FC236}">
                  <a16:creationId xmlns:a16="http://schemas.microsoft.com/office/drawing/2014/main" id="{DA877C55-5D01-4CD4-6D67-D22482B43D85}"/>
                </a:ext>
              </a:extLst>
            </p:cNvPr>
            <p:cNvSpPr/>
            <p:nvPr/>
          </p:nvSpPr>
          <p:spPr>
            <a:xfrm>
              <a:off x="2297406" y="4687473"/>
              <a:ext cx="305170" cy="305168"/>
            </a:xfrm>
            <a:custGeom>
              <a:avLst/>
              <a:gdLst>
                <a:gd name="csX0" fmla="*/ 802316 w 979097"/>
                <a:gd name="csY0" fmla="*/ 0 h 979097"/>
                <a:gd name="csX1" fmla="*/ 979097 w 979097"/>
                <a:gd name="csY1" fmla="*/ 176781 h 979097"/>
                <a:gd name="csX2" fmla="*/ 979097 w 979097"/>
                <a:gd name="csY2" fmla="*/ 802316 h 979097"/>
                <a:gd name="csX3" fmla="*/ 802316 w 979097"/>
                <a:gd name="csY3" fmla="*/ 979097 h 979097"/>
                <a:gd name="csX4" fmla="*/ 176781 w 979097"/>
                <a:gd name="csY4" fmla="*/ 979097 h 979097"/>
                <a:gd name="csX5" fmla="*/ 0 w 979097"/>
                <a:gd name="csY5" fmla="*/ 802316 h 979097"/>
                <a:gd name="csX6" fmla="*/ 0 w 979097"/>
                <a:gd name="csY6" fmla="*/ 176781 h 979097"/>
                <a:gd name="csX7" fmla="*/ 176781 w 979097"/>
                <a:gd name="csY7" fmla="*/ 0 h 979097"/>
                <a:gd name="csX8" fmla="*/ 802316 w 979097"/>
                <a:gd name="csY8" fmla="*/ 0 h 979097"/>
                <a:gd name="csX9" fmla="*/ 802316 w 979097"/>
                <a:gd name="csY9" fmla="*/ 81591 h 979097"/>
                <a:gd name="csX10" fmla="*/ 176781 w 979097"/>
                <a:gd name="csY10" fmla="*/ 81591 h 979097"/>
                <a:gd name="csX11" fmla="*/ 81591 w 979097"/>
                <a:gd name="csY11" fmla="*/ 176781 h 979097"/>
                <a:gd name="csX12" fmla="*/ 81591 w 979097"/>
                <a:gd name="csY12" fmla="*/ 802316 h 979097"/>
                <a:gd name="csX13" fmla="*/ 176781 w 979097"/>
                <a:gd name="csY13" fmla="*/ 897506 h 979097"/>
                <a:gd name="csX14" fmla="*/ 802316 w 979097"/>
                <a:gd name="csY14" fmla="*/ 897506 h 979097"/>
                <a:gd name="csX15" fmla="*/ 897506 w 979097"/>
                <a:gd name="csY15" fmla="*/ 802316 h 979097"/>
                <a:gd name="csX16" fmla="*/ 897506 w 979097"/>
                <a:gd name="csY16" fmla="*/ 176781 h 979097"/>
                <a:gd name="csX17" fmla="*/ 802316 w 979097"/>
                <a:gd name="csY17" fmla="*/ 81591 h 979097"/>
                <a:gd name="csX18" fmla="*/ 258373 w 979097"/>
                <a:gd name="csY18" fmla="*/ 217577 h 979097"/>
                <a:gd name="csX19" fmla="*/ 298796 w 979097"/>
                <a:gd name="csY19" fmla="*/ 252837 h 979097"/>
                <a:gd name="csX20" fmla="*/ 299169 w 979097"/>
                <a:gd name="csY20" fmla="*/ 258373 h 979097"/>
                <a:gd name="csX21" fmla="*/ 299169 w 979097"/>
                <a:gd name="csY21" fmla="*/ 312767 h 979097"/>
                <a:gd name="csX22" fmla="*/ 258373 w 979097"/>
                <a:gd name="csY22" fmla="*/ 353563 h 979097"/>
                <a:gd name="csX23" fmla="*/ 217950 w 979097"/>
                <a:gd name="csY23" fmla="*/ 318303 h 979097"/>
                <a:gd name="csX24" fmla="*/ 217577 w 979097"/>
                <a:gd name="csY24" fmla="*/ 312767 h 979097"/>
                <a:gd name="csX25" fmla="*/ 217577 w 979097"/>
                <a:gd name="csY25" fmla="*/ 258373 h 979097"/>
                <a:gd name="csX26" fmla="*/ 258373 w 979097"/>
                <a:gd name="csY26" fmla="*/ 217577 h 979097"/>
                <a:gd name="csX27" fmla="*/ 298796 w 979097"/>
                <a:gd name="csY27" fmla="*/ 660793 h 979097"/>
                <a:gd name="csX28" fmla="*/ 258373 w 979097"/>
                <a:gd name="csY28" fmla="*/ 625534 h 979097"/>
                <a:gd name="csX29" fmla="*/ 217577 w 979097"/>
                <a:gd name="csY29" fmla="*/ 666330 h 979097"/>
                <a:gd name="csX30" fmla="*/ 217577 w 979097"/>
                <a:gd name="csY30" fmla="*/ 720724 h 979097"/>
                <a:gd name="csX31" fmla="*/ 217950 w 979097"/>
                <a:gd name="csY31" fmla="*/ 726262 h 979097"/>
                <a:gd name="csX32" fmla="*/ 258373 w 979097"/>
                <a:gd name="csY32" fmla="*/ 761520 h 979097"/>
                <a:gd name="csX33" fmla="*/ 299169 w 979097"/>
                <a:gd name="csY33" fmla="*/ 720724 h 979097"/>
                <a:gd name="csX34" fmla="*/ 299169 w 979097"/>
                <a:gd name="csY34" fmla="*/ 666330 h 979097"/>
                <a:gd name="csX35" fmla="*/ 298796 w 979097"/>
                <a:gd name="csY35" fmla="*/ 660793 h 979097"/>
                <a:gd name="csX36" fmla="*/ 299169 w 979097"/>
                <a:gd name="csY36" fmla="*/ 452626 h 979097"/>
                <a:gd name="csX37" fmla="*/ 258745 w 979097"/>
                <a:gd name="csY37" fmla="*/ 417362 h 979097"/>
                <a:gd name="csX38" fmla="*/ 217950 w 979097"/>
                <a:gd name="csY38" fmla="*/ 458158 h 979097"/>
                <a:gd name="csX39" fmla="*/ 217577 w 979097"/>
                <a:gd name="csY39" fmla="*/ 520619 h 979097"/>
                <a:gd name="csX40" fmla="*/ 217950 w 979097"/>
                <a:gd name="csY40" fmla="*/ 526151 h 979097"/>
                <a:gd name="csX41" fmla="*/ 258373 w 979097"/>
                <a:gd name="csY41" fmla="*/ 561414 h 979097"/>
                <a:gd name="csX42" fmla="*/ 299169 w 979097"/>
                <a:gd name="csY42" fmla="*/ 520619 h 979097"/>
                <a:gd name="csX43" fmla="*/ 299541 w 979097"/>
                <a:gd name="csY43" fmla="*/ 458158 h 979097"/>
                <a:gd name="csX44" fmla="*/ 299169 w 979097"/>
                <a:gd name="csY44" fmla="*/ 452626 h 97909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Lst>
              <a:rect l="l" t="t" r="r" b="b"/>
              <a:pathLst>
                <a:path w="979097" h="979097">
                  <a:moveTo>
                    <a:pt x="802316" y="0"/>
                  </a:moveTo>
                  <a:cubicBezTo>
                    <a:pt x="899948" y="0"/>
                    <a:pt x="979097" y="79148"/>
                    <a:pt x="979097" y="176781"/>
                  </a:cubicBezTo>
                  <a:lnTo>
                    <a:pt x="979097" y="802316"/>
                  </a:lnTo>
                  <a:cubicBezTo>
                    <a:pt x="979097" y="899948"/>
                    <a:pt x="899948" y="979097"/>
                    <a:pt x="802316" y="979097"/>
                  </a:cubicBezTo>
                  <a:lnTo>
                    <a:pt x="176781" y="979097"/>
                  </a:lnTo>
                  <a:cubicBezTo>
                    <a:pt x="79148" y="979097"/>
                    <a:pt x="0" y="899948"/>
                    <a:pt x="0" y="802316"/>
                  </a:cubicBezTo>
                  <a:lnTo>
                    <a:pt x="0" y="176781"/>
                  </a:lnTo>
                  <a:cubicBezTo>
                    <a:pt x="0" y="79148"/>
                    <a:pt x="79148" y="0"/>
                    <a:pt x="176781" y="0"/>
                  </a:cubicBezTo>
                  <a:lnTo>
                    <a:pt x="802316" y="0"/>
                  </a:lnTo>
                  <a:close/>
                  <a:moveTo>
                    <a:pt x="802316" y="81591"/>
                  </a:moveTo>
                  <a:lnTo>
                    <a:pt x="176781" y="81591"/>
                  </a:lnTo>
                  <a:cubicBezTo>
                    <a:pt x="124209" y="81591"/>
                    <a:pt x="81591" y="124209"/>
                    <a:pt x="81591" y="176781"/>
                  </a:cubicBezTo>
                  <a:lnTo>
                    <a:pt x="81591" y="802316"/>
                  </a:lnTo>
                  <a:cubicBezTo>
                    <a:pt x="81591" y="854888"/>
                    <a:pt x="124209" y="897506"/>
                    <a:pt x="176781" y="897506"/>
                  </a:cubicBezTo>
                  <a:lnTo>
                    <a:pt x="802316" y="897506"/>
                  </a:lnTo>
                  <a:cubicBezTo>
                    <a:pt x="854888" y="897506"/>
                    <a:pt x="897506" y="854888"/>
                    <a:pt x="897506" y="802316"/>
                  </a:cubicBezTo>
                  <a:lnTo>
                    <a:pt x="897506" y="176781"/>
                  </a:lnTo>
                  <a:cubicBezTo>
                    <a:pt x="897506" y="124209"/>
                    <a:pt x="854888" y="81591"/>
                    <a:pt x="802316" y="81591"/>
                  </a:cubicBezTo>
                  <a:close/>
                  <a:moveTo>
                    <a:pt x="258373" y="217577"/>
                  </a:moveTo>
                  <a:cubicBezTo>
                    <a:pt x="279026" y="217577"/>
                    <a:pt x="296095" y="232925"/>
                    <a:pt x="298796" y="252837"/>
                  </a:cubicBezTo>
                  <a:lnTo>
                    <a:pt x="299169" y="258373"/>
                  </a:lnTo>
                  <a:lnTo>
                    <a:pt x="299169" y="312767"/>
                  </a:lnTo>
                  <a:cubicBezTo>
                    <a:pt x="299169" y="335298"/>
                    <a:pt x="280904" y="353563"/>
                    <a:pt x="258373" y="353563"/>
                  </a:cubicBezTo>
                  <a:cubicBezTo>
                    <a:pt x="237719" y="353563"/>
                    <a:pt x="220651" y="338216"/>
                    <a:pt x="217950" y="318303"/>
                  </a:cubicBezTo>
                  <a:lnTo>
                    <a:pt x="217577" y="312767"/>
                  </a:lnTo>
                  <a:lnTo>
                    <a:pt x="217577" y="258373"/>
                  </a:lnTo>
                  <a:cubicBezTo>
                    <a:pt x="217577" y="235842"/>
                    <a:pt x="235842" y="217577"/>
                    <a:pt x="258373" y="217577"/>
                  </a:cubicBezTo>
                  <a:close/>
                  <a:moveTo>
                    <a:pt x="298796" y="660793"/>
                  </a:moveTo>
                  <a:cubicBezTo>
                    <a:pt x="296095" y="640884"/>
                    <a:pt x="279026" y="625534"/>
                    <a:pt x="258373" y="625534"/>
                  </a:cubicBezTo>
                  <a:cubicBezTo>
                    <a:pt x="235842" y="625534"/>
                    <a:pt x="217577" y="643800"/>
                    <a:pt x="217577" y="666330"/>
                  </a:cubicBezTo>
                  <a:lnTo>
                    <a:pt x="217577" y="720724"/>
                  </a:lnTo>
                  <a:lnTo>
                    <a:pt x="217950" y="726262"/>
                  </a:lnTo>
                  <a:cubicBezTo>
                    <a:pt x="220651" y="746170"/>
                    <a:pt x="237719" y="761520"/>
                    <a:pt x="258373" y="761520"/>
                  </a:cubicBezTo>
                  <a:cubicBezTo>
                    <a:pt x="280904" y="761520"/>
                    <a:pt x="299169" y="743255"/>
                    <a:pt x="299169" y="720724"/>
                  </a:cubicBezTo>
                  <a:lnTo>
                    <a:pt x="299169" y="666330"/>
                  </a:lnTo>
                  <a:lnTo>
                    <a:pt x="298796" y="660793"/>
                  </a:lnTo>
                  <a:close/>
                  <a:moveTo>
                    <a:pt x="299169" y="452626"/>
                  </a:moveTo>
                  <a:cubicBezTo>
                    <a:pt x="296467" y="432712"/>
                    <a:pt x="279398" y="417362"/>
                    <a:pt x="258745" y="417362"/>
                  </a:cubicBezTo>
                  <a:cubicBezTo>
                    <a:pt x="236214" y="417362"/>
                    <a:pt x="217950" y="435628"/>
                    <a:pt x="217950" y="458158"/>
                  </a:cubicBezTo>
                  <a:lnTo>
                    <a:pt x="217577" y="520619"/>
                  </a:lnTo>
                  <a:lnTo>
                    <a:pt x="217950" y="526151"/>
                  </a:lnTo>
                  <a:cubicBezTo>
                    <a:pt x="220651" y="546064"/>
                    <a:pt x="237719" y="561414"/>
                    <a:pt x="258373" y="561414"/>
                  </a:cubicBezTo>
                  <a:cubicBezTo>
                    <a:pt x="280904" y="561414"/>
                    <a:pt x="299169" y="543149"/>
                    <a:pt x="299169" y="520619"/>
                  </a:cubicBezTo>
                  <a:lnTo>
                    <a:pt x="299541" y="458158"/>
                  </a:lnTo>
                  <a:lnTo>
                    <a:pt x="299169" y="452626"/>
                  </a:lnTo>
                  <a:close/>
                </a:path>
              </a:pathLst>
            </a:custGeom>
            <a:solidFill>
              <a:schemeClr val="bg1"/>
            </a:solidFill>
            <a:ln w="54372" cap="flat">
              <a:noFill/>
              <a:prstDash val="solid"/>
              <a:miter/>
            </a:ln>
          </p:spPr>
          <p:txBody>
            <a:bodyPr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5" b="0" i="0" u="none" strike="noStrike" kern="1200" cap="none" spc="0" normalizeH="0" baseline="0" noProof="0">
                <a:ln>
                  <a:noFill/>
                </a:ln>
                <a:solidFill>
                  <a:srgbClr val="1B44B1"/>
                </a:solidFill>
                <a:effectLst/>
                <a:uLnTx/>
                <a:uFillTx/>
                <a:latin typeface="Segoe Sans Display"/>
                <a:ea typeface="+mn-ea"/>
                <a:cs typeface="+mn-cs"/>
              </a:endParaRPr>
            </a:p>
          </p:txBody>
        </p:sp>
        <p:sp>
          <p:nvSpPr>
            <p:cNvPr id="13" name="Graphic 16">
              <a:extLst>
                <a:ext uri="{FF2B5EF4-FFF2-40B4-BE49-F238E27FC236}">
                  <a16:creationId xmlns:a16="http://schemas.microsoft.com/office/drawing/2014/main" id="{05822ED4-C1A5-D503-201C-E65EF9C5B8C8}"/>
                </a:ext>
              </a:extLst>
            </p:cNvPr>
            <p:cNvSpPr/>
            <p:nvPr/>
          </p:nvSpPr>
          <p:spPr>
            <a:xfrm>
              <a:off x="7754618" y="4711718"/>
              <a:ext cx="294846" cy="294844"/>
            </a:xfrm>
            <a:custGeom>
              <a:avLst/>
              <a:gdLst>
                <a:gd name="csX0" fmla="*/ 179785 w 1118663"/>
                <a:gd name="csY0" fmla="*/ 79905 h 1118663"/>
                <a:gd name="csX1" fmla="*/ 79905 w 1118663"/>
                <a:gd name="csY1" fmla="*/ 179785 h 1118663"/>
                <a:gd name="csX2" fmla="*/ 179785 w 1118663"/>
                <a:gd name="csY2" fmla="*/ 279666 h 1118663"/>
                <a:gd name="csX3" fmla="*/ 279666 w 1118663"/>
                <a:gd name="csY3" fmla="*/ 179785 h 1118663"/>
                <a:gd name="csX4" fmla="*/ 179785 w 1118663"/>
                <a:gd name="csY4" fmla="*/ 79905 h 1118663"/>
                <a:gd name="csX5" fmla="*/ 0 w 1118663"/>
                <a:gd name="csY5" fmla="*/ 179785 h 1118663"/>
                <a:gd name="csX6" fmla="*/ 179785 w 1118663"/>
                <a:gd name="csY6" fmla="*/ 0 h 1118663"/>
                <a:gd name="csX7" fmla="*/ 359571 w 1118663"/>
                <a:gd name="csY7" fmla="*/ 179785 h 1118663"/>
                <a:gd name="csX8" fmla="*/ 332003 w 1118663"/>
                <a:gd name="csY8" fmla="*/ 275501 h 1118663"/>
                <a:gd name="csX9" fmla="*/ 463618 w 1118663"/>
                <a:gd name="csY9" fmla="*/ 407114 h 1118663"/>
                <a:gd name="csX10" fmla="*/ 559332 w 1118663"/>
                <a:gd name="csY10" fmla="*/ 379547 h 1118663"/>
                <a:gd name="csX11" fmla="*/ 655046 w 1118663"/>
                <a:gd name="csY11" fmla="*/ 407114 h 1118663"/>
                <a:gd name="csX12" fmla="*/ 786660 w 1118663"/>
                <a:gd name="csY12" fmla="*/ 275501 h 1118663"/>
                <a:gd name="csX13" fmla="*/ 759093 w 1118663"/>
                <a:gd name="csY13" fmla="*/ 179785 h 1118663"/>
                <a:gd name="csX14" fmla="*/ 938879 w 1118663"/>
                <a:gd name="csY14" fmla="*/ 0 h 1118663"/>
                <a:gd name="csX15" fmla="*/ 1118664 w 1118663"/>
                <a:gd name="csY15" fmla="*/ 179785 h 1118663"/>
                <a:gd name="csX16" fmla="*/ 938879 w 1118663"/>
                <a:gd name="csY16" fmla="*/ 359571 h 1118663"/>
                <a:gd name="csX17" fmla="*/ 843165 w 1118663"/>
                <a:gd name="csY17" fmla="*/ 332003 h 1118663"/>
                <a:gd name="csX18" fmla="*/ 711550 w 1118663"/>
                <a:gd name="csY18" fmla="*/ 463618 h 1118663"/>
                <a:gd name="csX19" fmla="*/ 739117 w 1118663"/>
                <a:gd name="csY19" fmla="*/ 559332 h 1118663"/>
                <a:gd name="csX20" fmla="*/ 711550 w 1118663"/>
                <a:gd name="csY20" fmla="*/ 655046 h 1118663"/>
                <a:gd name="csX21" fmla="*/ 843165 w 1118663"/>
                <a:gd name="csY21" fmla="*/ 786660 h 1118663"/>
                <a:gd name="csX22" fmla="*/ 938879 w 1118663"/>
                <a:gd name="csY22" fmla="*/ 759093 h 1118663"/>
                <a:gd name="csX23" fmla="*/ 1118664 w 1118663"/>
                <a:gd name="csY23" fmla="*/ 938879 h 1118663"/>
                <a:gd name="csX24" fmla="*/ 938879 w 1118663"/>
                <a:gd name="csY24" fmla="*/ 1118664 h 1118663"/>
                <a:gd name="csX25" fmla="*/ 759093 w 1118663"/>
                <a:gd name="csY25" fmla="*/ 938879 h 1118663"/>
                <a:gd name="csX26" fmla="*/ 786660 w 1118663"/>
                <a:gd name="csY26" fmla="*/ 843165 h 1118663"/>
                <a:gd name="csX27" fmla="*/ 655046 w 1118663"/>
                <a:gd name="csY27" fmla="*/ 711550 h 1118663"/>
                <a:gd name="csX28" fmla="*/ 559332 w 1118663"/>
                <a:gd name="csY28" fmla="*/ 739117 h 1118663"/>
                <a:gd name="csX29" fmla="*/ 463618 w 1118663"/>
                <a:gd name="csY29" fmla="*/ 711550 h 1118663"/>
                <a:gd name="csX30" fmla="*/ 332003 w 1118663"/>
                <a:gd name="csY30" fmla="*/ 843165 h 1118663"/>
                <a:gd name="csX31" fmla="*/ 359571 w 1118663"/>
                <a:gd name="csY31" fmla="*/ 938879 h 1118663"/>
                <a:gd name="csX32" fmla="*/ 179785 w 1118663"/>
                <a:gd name="csY32" fmla="*/ 1118664 h 1118663"/>
                <a:gd name="csX33" fmla="*/ 0 w 1118663"/>
                <a:gd name="csY33" fmla="*/ 938879 h 1118663"/>
                <a:gd name="csX34" fmla="*/ 179785 w 1118663"/>
                <a:gd name="csY34" fmla="*/ 759093 h 1118663"/>
                <a:gd name="csX35" fmla="*/ 275501 w 1118663"/>
                <a:gd name="csY35" fmla="*/ 786660 h 1118663"/>
                <a:gd name="csX36" fmla="*/ 407114 w 1118663"/>
                <a:gd name="csY36" fmla="*/ 655046 h 1118663"/>
                <a:gd name="csX37" fmla="*/ 379547 w 1118663"/>
                <a:gd name="csY37" fmla="*/ 559332 h 1118663"/>
                <a:gd name="csX38" fmla="*/ 407114 w 1118663"/>
                <a:gd name="csY38" fmla="*/ 463618 h 1118663"/>
                <a:gd name="csX39" fmla="*/ 275501 w 1118663"/>
                <a:gd name="csY39" fmla="*/ 332003 h 1118663"/>
                <a:gd name="csX40" fmla="*/ 179785 w 1118663"/>
                <a:gd name="csY40" fmla="*/ 359571 h 1118663"/>
                <a:gd name="csX41" fmla="*/ 0 w 1118663"/>
                <a:gd name="csY41" fmla="*/ 179785 h 1118663"/>
                <a:gd name="csX42" fmla="*/ 938879 w 1118663"/>
                <a:gd name="csY42" fmla="*/ 79905 h 1118663"/>
                <a:gd name="csX43" fmla="*/ 838998 w 1118663"/>
                <a:gd name="csY43" fmla="*/ 179785 h 1118663"/>
                <a:gd name="csX44" fmla="*/ 938879 w 1118663"/>
                <a:gd name="csY44" fmla="*/ 279666 h 1118663"/>
                <a:gd name="csX45" fmla="*/ 1038759 w 1118663"/>
                <a:gd name="csY45" fmla="*/ 179785 h 1118663"/>
                <a:gd name="csX46" fmla="*/ 938879 w 1118663"/>
                <a:gd name="csY46" fmla="*/ 79905 h 1118663"/>
                <a:gd name="csX47" fmla="*/ 79905 w 1118663"/>
                <a:gd name="csY47" fmla="*/ 938879 h 1118663"/>
                <a:gd name="csX48" fmla="*/ 179785 w 1118663"/>
                <a:gd name="csY48" fmla="*/ 1038759 h 1118663"/>
                <a:gd name="csX49" fmla="*/ 279666 w 1118663"/>
                <a:gd name="csY49" fmla="*/ 938879 h 1118663"/>
                <a:gd name="csX50" fmla="*/ 179785 w 1118663"/>
                <a:gd name="csY50" fmla="*/ 838998 h 1118663"/>
                <a:gd name="csX51" fmla="*/ 79905 w 1118663"/>
                <a:gd name="csY51" fmla="*/ 938879 h 1118663"/>
                <a:gd name="csX52" fmla="*/ 559332 w 1118663"/>
                <a:gd name="csY52" fmla="*/ 459451 h 1118663"/>
                <a:gd name="csX53" fmla="*/ 459451 w 1118663"/>
                <a:gd name="csY53" fmla="*/ 559332 h 1118663"/>
                <a:gd name="csX54" fmla="*/ 559332 w 1118663"/>
                <a:gd name="csY54" fmla="*/ 659213 h 1118663"/>
                <a:gd name="csX55" fmla="*/ 659213 w 1118663"/>
                <a:gd name="csY55" fmla="*/ 559332 h 1118663"/>
                <a:gd name="csX56" fmla="*/ 559332 w 1118663"/>
                <a:gd name="csY56" fmla="*/ 459451 h 1118663"/>
                <a:gd name="csX57" fmla="*/ 838998 w 1118663"/>
                <a:gd name="csY57" fmla="*/ 938879 h 1118663"/>
                <a:gd name="csX58" fmla="*/ 938879 w 1118663"/>
                <a:gd name="csY58" fmla="*/ 1038759 h 1118663"/>
                <a:gd name="csX59" fmla="*/ 1038759 w 1118663"/>
                <a:gd name="csY59" fmla="*/ 938879 h 1118663"/>
                <a:gd name="csX60" fmla="*/ 938879 w 1118663"/>
                <a:gd name="csY60" fmla="*/ 838998 h 1118663"/>
                <a:gd name="csX61" fmla="*/ 838998 w 1118663"/>
                <a:gd name="csY61" fmla="*/ 938879 h 111866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Lst>
              <a:rect l="l" t="t" r="r" b="b"/>
              <a:pathLst>
                <a:path w="1118663" h="1118663">
                  <a:moveTo>
                    <a:pt x="179785" y="79905"/>
                  </a:moveTo>
                  <a:cubicBezTo>
                    <a:pt x="124623" y="79905"/>
                    <a:pt x="79905" y="124623"/>
                    <a:pt x="79905" y="179785"/>
                  </a:cubicBezTo>
                  <a:cubicBezTo>
                    <a:pt x="79905" y="234948"/>
                    <a:pt x="124623" y="279666"/>
                    <a:pt x="179785" y="279666"/>
                  </a:cubicBezTo>
                  <a:cubicBezTo>
                    <a:pt x="234948" y="279666"/>
                    <a:pt x="279666" y="234948"/>
                    <a:pt x="279666" y="179785"/>
                  </a:cubicBezTo>
                  <a:cubicBezTo>
                    <a:pt x="279666" y="124623"/>
                    <a:pt x="234948" y="79905"/>
                    <a:pt x="179785" y="79905"/>
                  </a:cubicBezTo>
                  <a:close/>
                  <a:moveTo>
                    <a:pt x="0" y="179785"/>
                  </a:moveTo>
                  <a:cubicBezTo>
                    <a:pt x="0" y="80493"/>
                    <a:pt x="80493" y="0"/>
                    <a:pt x="179785" y="0"/>
                  </a:cubicBezTo>
                  <a:cubicBezTo>
                    <a:pt x="279078" y="0"/>
                    <a:pt x="359571" y="80493"/>
                    <a:pt x="359571" y="179785"/>
                  </a:cubicBezTo>
                  <a:cubicBezTo>
                    <a:pt x="359571" y="214965"/>
                    <a:pt x="349467" y="247784"/>
                    <a:pt x="332003" y="275501"/>
                  </a:cubicBezTo>
                  <a:lnTo>
                    <a:pt x="463618" y="407114"/>
                  </a:lnTo>
                  <a:cubicBezTo>
                    <a:pt x="491333" y="389651"/>
                    <a:pt x="524154" y="379547"/>
                    <a:pt x="559332" y="379547"/>
                  </a:cubicBezTo>
                  <a:cubicBezTo>
                    <a:pt x="594510" y="379547"/>
                    <a:pt x="627331" y="389651"/>
                    <a:pt x="655046" y="407114"/>
                  </a:cubicBezTo>
                  <a:lnTo>
                    <a:pt x="786660" y="275501"/>
                  </a:lnTo>
                  <a:cubicBezTo>
                    <a:pt x="769197" y="247784"/>
                    <a:pt x="759093" y="214965"/>
                    <a:pt x="759093" y="179785"/>
                  </a:cubicBezTo>
                  <a:cubicBezTo>
                    <a:pt x="759093" y="80493"/>
                    <a:pt x="839585" y="0"/>
                    <a:pt x="938879" y="0"/>
                  </a:cubicBezTo>
                  <a:cubicBezTo>
                    <a:pt x="1038172" y="0"/>
                    <a:pt x="1118664" y="80493"/>
                    <a:pt x="1118664" y="179785"/>
                  </a:cubicBezTo>
                  <a:cubicBezTo>
                    <a:pt x="1118664" y="279078"/>
                    <a:pt x="1038172" y="359571"/>
                    <a:pt x="938879" y="359571"/>
                  </a:cubicBezTo>
                  <a:cubicBezTo>
                    <a:pt x="903701" y="359571"/>
                    <a:pt x="870880" y="349467"/>
                    <a:pt x="843165" y="332003"/>
                  </a:cubicBezTo>
                  <a:lnTo>
                    <a:pt x="711550" y="463618"/>
                  </a:lnTo>
                  <a:cubicBezTo>
                    <a:pt x="729013" y="491333"/>
                    <a:pt x="739117" y="524154"/>
                    <a:pt x="739117" y="559332"/>
                  </a:cubicBezTo>
                  <a:cubicBezTo>
                    <a:pt x="739117" y="594510"/>
                    <a:pt x="729013" y="627331"/>
                    <a:pt x="711550" y="655046"/>
                  </a:cubicBezTo>
                  <a:lnTo>
                    <a:pt x="843165" y="786660"/>
                  </a:lnTo>
                  <a:cubicBezTo>
                    <a:pt x="870880" y="769197"/>
                    <a:pt x="903701" y="759093"/>
                    <a:pt x="938879" y="759093"/>
                  </a:cubicBezTo>
                  <a:cubicBezTo>
                    <a:pt x="1038172" y="759093"/>
                    <a:pt x="1118664" y="839585"/>
                    <a:pt x="1118664" y="938879"/>
                  </a:cubicBezTo>
                  <a:cubicBezTo>
                    <a:pt x="1118664" y="1038172"/>
                    <a:pt x="1038172" y="1118664"/>
                    <a:pt x="938879" y="1118664"/>
                  </a:cubicBezTo>
                  <a:cubicBezTo>
                    <a:pt x="839585" y="1118664"/>
                    <a:pt x="759093" y="1038172"/>
                    <a:pt x="759093" y="938879"/>
                  </a:cubicBezTo>
                  <a:cubicBezTo>
                    <a:pt x="759093" y="903701"/>
                    <a:pt x="769197" y="870880"/>
                    <a:pt x="786660" y="843165"/>
                  </a:cubicBezTo>
                  <a:lnTo>
                    <a:pt x="655046" y="711550"/>
                  </a:lnTo>
                  <a:cubicBezTo>
                    <a:pt x="627331" y="729013"/>
                    <a:pt x="594510" y="739117"/>
                    <a:pt x="559332" y="739117"/>
                  </a:cubicBezTo>
                  <a:cubicBezTo>
                    <a:pt x="524154" y="739117"/>
                    <a:pt x="491333" y="729013"/>
                    <a:pt x="463618" y="711550"/>
                  </a:cubicBezTo>
                  <a:lnTo>
                    <a:pt x="332003" y="843165"/>
                  </a:lnTo>
                  <a:cubicBezTo>
                    <a:pt x="349467" y="870880"/>
                    <a:pt x="359571" y="903701"/>
                    <a:pt x="359571" y="938879"/>
                  </a:cubicBezTo>
                  <a:cubicBezTo>
                    <a:pt x="359571" y="1038172"/>
                    <a:pt x="279078" y="1118664"/>
                    <a:pt x="179785" y="1118664"/>
                  </a:cubicBezTo>
                  <a:cubicBezTo>
                    <a:pt x="80493" y="1118664"/>
                    <a:pt x="0" y="1038172"/>
                    <a:pt x="0" y="938879"/>
                  </a:cubicBezTo>
                  <a:cubicBezTo>
                    <a:pt x="0" y="839585"/>
                    <a:pt x="80493" y="759093"/>
                    <a:pt x="179785" y="759093"/>
                  </a:cubicBezTo>
                  <a:cubicBezTo>
                    <a:pt x="214965" y="759093"/>
                    <a:pt x="247784" y="769197"/>
                    <a:pt x="275501" y="786660"/>
                  </a:cubicBezTo>
                  <a:lnTo>
                    <a:pt x="407114" y="655046"/>
                  </a:lnTo>
                  <a:cubicBezTo>
                    <a:pt x="389651" y="627331"/>
                    <a:pt x="379547" y="594510"/>
                    <a:pt x="379547" y="559332"/>
                  </a:cubicBezTo>
                  <a:cubicBezTo>
                    <a:pt x="379547" y="524154"/>
                    <a:pt x="389651" y="491333"/>
                    <a:pt x="407114" y="463618"/>
                  </a:cubicBezTo>
                  <a:lnTo>
                    <a:pt x="275501" y="332003"/>
                  </a:lnTo>
                  <a:cubicBezTo>
                    <a:pt x="247784" y="349467"/>
                    <a:pt x="214965" y="359571"/>
                    <a:pt x="179785" y="359571"/>
                  </a:cubicBezTo>
                  <a:cubicBezTo>
                    <a:pt x="80493" y="359571"/>
                    <a:pt x="0" y="279078"/>
                    <a:pt x="0" y="179785"/>
                  </a:cubicBezTo>
                  <a:close/>
                  <a:moveTo>
                    <a:pt x="938879" y="79905"/>
                  </a:moveTo>
                  <a:cubicBezTo>
                    <a:pt x="883717" y="79905"/>
                    <a:pt x="838998" y="124623"/>
                    <a:pt x="838998" y="179785"/>
                  </a:cubicBezTo>
                  <a:cubicBezTo>
                    <a:pt x="838998" y="234948"/>
                    <a:pt x="883717" y="279666"/>
                    <a:pt x="938879" y="279666"/>
                  </a:cubicBezTo>
                  <a:cubicBezTo>
                    <a:pt x="994041" y="279666"/>
                    <a:pt x="1038759" y="234948"/>
                    <a:pt x="1038759" y="179785"/>
                  </a:cubicBezTo>
                  <a:cubicBezTo>
                    <a:pt x="1038759" y="124623"/>
                    <a:pt x="994041" y="79905"/>
                    <a:pt x="938879" y="79905"/>
                  </a:cubicBezTo>
                  <a:close/>
                  <a:moveTo>
                    <a:pt x="79905" y="938879"/>
                  </a:moveTo>
                  <a:cubicBezTo>
                    <a:pt x="79905" y="994041"/>
                    <a:pt x="124623" y="1038759"/>
                    <a:pt x="179785" y="1038759"/>
                  </a:cubicBezTo>
                  <a:cubicBezTo>
                    <a:pt x="234948" y="1038759"/>
                    <a:pt x="279666" y="994041"/>
                    <a:pt x="279666" y="938879"/>
                  </a:cubicBezTo>
                  <a:cubicBezTo>
                    <a:pt x="279666" y="883717"/>
                    <a:pt x="234948" y="838998"/>
                    <a:pt x="179785" y="838998"/>
                  </a:cubicBezTo>
                  <a:cubicBezTo>
                    <a:pt x="124623" y="838998"/>
                    <a:pt x="79905" y="883717"/>
                    <a:pt x="79905" y="938879"/>
                  </a:cubicBezTo>
                  <a:close/>
                  <a:moveTo>
                    <a:pt x="559332" y="459451"/>
                  </a:moveTo>
                  <a:cubicBezTo>
                    <a:pt x="504170" y="459451"/>
                    <a:pt x="459451" y="504170"/>
                    <a:pt x="459451" y="559332"/>
                  </a:cubicBezTo>
                  <a:cubicBezTo>
                    <a:pt x="459451" y="614494"/>
                    <a:pt x="504170" y="659213"/>
                    <a:pt x="559332" y="659213"/>
                  </a:cubicBezTo>
                  <a:cubicBezTo>
                    <a:pt x="614494" y="659213"/>
                    <a:pt x="659213" y="614494"/>
                    <a:pt x="659213" y="559332"/>
                  </a:cubicBezTo>
                  <a:cubicBezTo>
                    <a:pt x="659213" y="504170"/>
                    <a:pt x="614494" y="459451"/>
                    <a:pt x="559332" y="459451"/>
                  </a:cubicBezTo>
                  <a:close/>
                  <a:moveTo>
                    <a:pt x="838998" y="938879"/>
                  </a:moveTo>
                  <a:cubicBezTo>
                    <a:pt x="838998" y="994041"/>
                    <a:pt x="883717" y="1038759"/>
                    <a:pt x="938879" y="1038759"/>
                  </a:cubicBezTo>
                  <a:cubicBezTo>
                    <a:pt x="994041" y="1038759"/>
                    <a:pt x="1038759" y="994041"/>
                    <a:pt x="1038759" y="938879"/>
                  </a:cubicBezTo>
                  <a:cubicBezTo>
                    <a:pt x="1038759" y="883717"/>
                    <a:pt x="994041" y="838998"/>
                    <a:pt x="938879" y="838998"/>
                  </a:cubicBezTo>
                  <a:cubicBezTo>
                    <a:pt x="883717" y="838998"/>
                    <a:pt x="838998" y="883717"/>
                    <a:pt x="838998" y="938879"/>
                  </a:cubicBezTo>
                  <a:close/>
                </a:path>
              </a:pathLst>
            </a:custGeom>
            <a:solidFill>
              <a:schemeClr val="bg1"/>
            </a:solidFill>
            <a:ln w="39886"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4" name="Graphic 23">
              <a:extLst>
                <a:ext uri="{FF2B5EF4-FFF2-40B4-BE49-F238E27FC236}">
                  <a16:creationId xmlns:a16="http://schemas.microsoft.com/office/drawing/2014/main" id="{41DEEC72-2C91-DF25-2110-243E2EBA6E4F}"/>
                </a:ext>
              </a:extLst>
            </p:cNvPr>
            <p:cNvSpPr/>
            <p:nvPr/>
          </p:nvSpPr>
          <p:spPr>
            <a:xfrm>
              <a:off x="5928233" y="4676228"/>
              <a:ext cx="319565" cy="335951"/>
            </a:xfrm>
            <a:custGeom>
              <a:avLst/>
              <a:gdLst>
                <a:gd name="csX0" fmla="*/ 656957 w 1075017"/>
                <a:gd name="csY0" fmla="*/ 333865 h 1130146"/>
                <a:gd name="csX1" fmla="*/ 644752 w 1075017"/>
                <a:gd name="csY1" fmla="*/ 319983 h 1130146"/>
                <a:gd name="csX2" fmla="*/ 586808 w 1075017"/>
                <a:gd name="csY2" fmla="*/ 284119 h 1130146"/>
                <a:gd name="csX3" fmla="*/ 515071 w 1075017"/>
                <a:gd name="csY3" fmla="*/ 260821 h 1130146"/>
                <a:gd name="csX4" fmla="*/ 501366 w 1075017"/>
                <a:gd name="csY4" fmla="*/ 250474 h 1130146"/>
                <a:gd name="csX5" fmla="*/ 496162 w 1075017"/>
                <a:gd name="csY5" fmla="*/ 234120 h 1130146"/>
                <a:gd name="csX6" fmla="*/ 501366 w 1075017"/>
                <a:gd name="csY6" fmla="*/ 217764 h 1130146"/>
                <a:gd name="csX7" fmla="*/ 515071 w 1075017"/>
                <a:gd name="csY7" fmla="*/ 207418 h 1130146"/>
                <a:gd name="csX8" fmla="*/ 586808 w 1075017"/>
                <a:gd name="csY8" fmla="*/ 184121 h 1130146"/>
                <a:gd name="csX9" fmla="*/ 643875 w 1075017"/>
                <a:gd name="csY9" fmla="*/ 148148 h 1130146"/>
                <a:gd name="csX10" fmla="*/ 678394 w 1075017"/>
                <a:gd name="csY10" fmla="*/ 92351 h 1130146"/>
                <a:gd name="csX11" fmla="*/ 678990 w 1075017"/>
                <a:gd name="csY11" fmla="*/ 90577 h 1130146"/>
                <a:gd name="csX12" fmla="*/ 702304 w 1075017"/>
                <a:gd name="csY12" fmla="*/ 18895 h 1130146"/>
                <a:gd name="csX13" fmla="*/ 712660 w 1075017"/>
                <a:gd name="csY13" fmla="*/ 5201 h 1130146"/>
                <a:gd name="csX14" fmla="*/ 729028 w 1075017"/>
                <a:gd name="csY14" fmla="*/ 0 h 1130146"/>
                <a:gd name="csX15" fmla="*/ 745393 w 1075017"/>
                <a:gd name="csY15" fmla="*/ 5201 h 1130146"/>
                <a:gd name="csX16" fmla="*/ 755749 w 1075017"/>
                <a:gd name="csY16" fmla="*/ 18895 h 1130146"/>
                <a:gd name="csX17" fmla="*/ 779063 w 1075017"/>
                <a:gd name="csY17" fmla="*/ 90577 h 1130146"/>
                <a:gd name="csX18" fmla="*/ 814800 w 1075017"/>
                <a:gd name="csY18" fmla="*/ 148411 h 1130146"/>
                <a:gd name="csX19" fmla="*/ 872680 w 1075017"/>
                <a:gd name="csY19" fmla="*/ 184121 h 1130146"/>
                <a:gd name="csX20" fmla="*/ 944417 w 1075017"/>
                <a:gd name="csY20" fmla="*/ 207418 h 1130146"/>
                <a:gd name="csX21" fmla="*/ 945850 w 1075017"/>
                <a:gd name="csY21" fmla="*/ 207776 h 1130146"/>
                <a:gd name="csX22" fmla="*/ 959556 w 1075017"/>
                <a:gd name="csY22" fmla="*/ 218123 h 1130146"/>
                <a:gd name="csX23" fmla="*/ 964760 w 1075017"/>
                <a:gd name="csY23" fmla="*/ 234478 h 1130146"/>
                <a:gd name="csX24" fmla="*/ 959556 w 1075017"/>
                <a:gd name="csY24" fmla="*/ 250832 h 1130146"/>
                <a:gd name="csX25" fmla="*/ 945850 w 1075017"/>
                <a:gd name="csY25" fmla="*/ 261180 h 1130146"/>
                <a:gd name="csX26" fmla="*/ 874114 w 1075017"/>
                <a:gd name="csY26" fmla="*/ 284477 h 1130146"/>
                <a:gd name="csX27" fmla="*/ 816236 w 1075017"/>
                <a:gd name="csY27" fmla="*/ 320187 h 1130146"/>
                <a:gd name="csX28" fmla="*/ 780496 w 1075017"/>
                <a:gd name="csY28" fmla="*/ 378020 h 1130146"/>
                <a:gd name="csX29" fmla="*/ 757182 w 1075017"/>
                <a:gd name="csY29" fmla="*/ 449702 h 1130146"/>
                <a:gd name="csX30" fmla="*/ 756493 w 1075017"/>
                <a:gd name="csY30" fmla="*/ 451463 h 1130146"/>
                <a:gd name="csX31" fmla="*/ 746829 w 1075017"/>
                <a:gd name="csY31" fmla="*/ 463396 h 1130146"/>
                <a:gd name="csX32" fmla="*/ 730461 w 1075017"/>
                <a:gd name="csY32" fmla="*/ 468598 h 1130146"/>
                <a:gd name="csX33" fmla="*/ 714093 w 1075017"/>
                <a:gd name="csY33" fmla="*/ 463396 h 1130146"/>
                <a:gd name="csX34" fmla="*/ 703740 w 1075017"/>
                <a:gd name="csY34" fmla="*/ 449702 h 1130146"/>
                <a:gd name="csX35" fmla="*/ 680426 w 1075017"/>
                <a:gd name="csY35" fmla="*/ 378020 h 1130146"/>
                <a:gd name="csX36" fmla="*/ 656957 w 1075017"/>
                <a:gd name="csY36" fmla="*/ 333865 h 1130146"/>
                <a:gd name="csX37" fmla="*/ 1064248 w 1075017"/>
                <a:gd name="csY37" fmla="*/ 523277 h 1130146"/>
                <a:gd name="csX38" fmla="*/ 1026270 w 1075017"/>
                <a:gd name="csY38" fmla="*/ 510945 h 1130146"/>
                <a:gd name="csX39" fmla="*/ 995629 w 1075017"/>
                <a:gd name="csY39" fmla="*/ 492039 h 1130146"/>
                <a:gd name="csX40" fmla="*/ 976709 w 1075017"/>
                <a:gd name="csY40" fmla="*/ 461420 h 1130146"/>
                <a:gd name="csX41" fmla="*/ 964366 w 1075017"/>
                <a:gd name="csY41" fmla="*/ 423472 h 1130146"/>
                <a:gd name="csX42" fmla="*/ 958883 w 1075017"/>
                <a:gd name="csY42" fmla="*/ 416222 h 1130146"/>
                <a:gd name="csX43" fmla="*/ 950217 w 1075017"/>
                <a:gd name="csY43" fmla="*/ 413468 h 1130146"/>
                <a:gd name="csX44" fmla="*/ 941553 w 1075017"/>
                <a:gd name="csY44" fmla="*/ 416222 h 1130146"/>
                <a:gd name="csX45" fmla="*/ 936071 w 1075017"/>
                <a:gd name="csY45" fmla="*/ 423472 h 1130146"/>
                <a:gd name="csX46" fmla="*/ 923727 w 1075017"/>
                <a:gd name="csY46" fmla="*/ 461420 h 1130146"/>
                <a:gd name="csX47" fmla="*/ 905138 w 1075017"/>
                <a:gd name="csY47" fmla="*/ 491901 h 1130146"/>
                <a:gd name="csX48" fmla="*/ 874927 w 1075017"/>
                <a:gd name="csY48" fmla="*/ 510945 h 1130146"/>
                <a:gd name="csX49" fmla="*/ 836948 w 1075017"/>
                <a:gd name="csY49" fmla="*/ 523277 h 1130146"/>
                <a:gd name="csX50" fmla="*/ 829693 w 1075017"/>
                <a:gd name="csY50" fmla="*/ 528754 h 1130146"/>
                <a:gd name="csX51" fmla="*/ 826937 w 1075017"/>
                <a:gd name="csY51" fmla="*/ 537415 h 1130146"/>
                <a:gd name="csX52" fmla="*/ 829693 w 1075017"/>
                <a:gd name="csY52" fmla="*/ 546073 h 1130146"/>
                <a:gd name="csX53" fmla="*/ 836948 w 1075017"/>
                <a:gd name="csY53" fmla="*/ 551550 h 1130146"/>
                <a:gd name="csX54" fmla="*/ 874927 w 1075017"/>
                <a:gd name="csY54" fmla="*/ 563883 h 1130146"/>
                <a:gd name="csX55" fmla="*/ 886992 w 1075017"/>
                <a:gd name="csY55" fmla="*/ 569065 h 1130146"/>
                <a:gd name="csX56" fmla="*/ 887072 w 1075017"/>
                <a:gd name="csY56" fmla="*/ 569484 h 1130146"/>
                <a:gd name="csX57" fmla="*/ 905551 w 1075017"/>
                <a:gd name="csY57" fmla="*/ 583181 h 1130146"/>
                <a:gd name="csX58" fmla="*/ 924482 w 1075017"/>
                <a:gd name="csY58" fmla="*/ 613863 h 1130146"/>
                <a:gd name="csX59" fmla="*/ 936831 w 1075017"/>
                <a:gd name="csY59" fmla="*/ 651819 h 1130146"/>
                <a:gd name="csX60" fmla="*/ 942311 w 1075017"/>
                <a:gd name="csY60" fmla="*/ 659072 h 1130146"/>
                <a:gd name="csX61" fmla="*/ 950972 w 1075017"/>
                <a:gd name="csY61" fmla="*/ 661825 h 1130146"/>
                <a:gd name="csX62" fmla="*/ 959635 w 1075017"/>
                <a:gd name="csY62" fmla="*/ 659072 h 1130146"/>
                <a:gd name="csX63" fmla="*/ 964694 w 1075017"/>
                <a:gd name="csY63" fmla="*/ 652880 h 1130146"/>
                <a:gd name="csX64" fmla="*/ 964688 w 1075017"/>
                <a:gd name="csY64" fmla="*/ 652641 h 1130146"/>
                <a:gd name="csX65" fmla="*/ 965124 w 1075017"/>
                <a:gd name="csY65" fmla="*/ 651546 h 1130146"/>
                <a:gd name="csX66" fmla="*/ 977467 w 1075017"/>
                <a:gd name="csY66" fmla="*/ 613598 h 1130146"/>
                <a:gd name="csX67" fmla="*/ 996387 w 1075017"/>
                <a:gd name="csY67" fmla="*/ 582979 h 1130146"/>
                <a:gd name="csX68" fmla="*/ 1027028 w 1075017"/>
                <a:gd name="csY68" fmla="*/ 564073 h 1130146"/>
                <a:gd name="csX69" fmla="*/ 1065007 w 1075017"/>
                <a:gd name="csY69" fmla="*/ 551741 h 1130146"/>
                <a:gd name="csX70" fmla="*/ 1072262 w 1075017"/>
                <a:gd name="csY70" fmla="*/ 546264 h 1130146"/>
                <a:gd name="csX71" fmla="*/ 1075018 w 1075017"/>
                <a:gd name="csY71" fmla="*/ 537603 h 1130146"/>
                <a:gd name="csX72" fmla="*/ 1072262 w 1075017"/>
                <a:gd name="csY72" fmla="*/ 528945 h 1130146"/>
                <a:gd name="csX73" fmla="*/ 1065007 w 1075017"/>
                <a:gd name="csY73" fmla="*/ 523468 h 1130146"/>
                <a:gd name="csX74" fmla="*/ 1064248 w 1075017"/>
                <a:gd name="csY74" fmla="*/ 523277 h 1130146"/>
                <a:gd name="csX75" fmla="*/ 385904 w 1075017"/>
                <a:gd name="csY75" fmla="*/ 137823 h 1130146"/>
                <a:gd name="csX76" fmla="*/ 500316 w 1075017"/>
                <a:gd name="csY76" fmla="*/ 155066 h 1130146"/>
                <a:gd name="csX77" fmla="*/ 498188 w 1075017"/>
                <a:gd name="csY77" fmla="*/ 155752 h 1130146"/>
                <a:gd name="csX78" fmla="*/ 456566 w 1075017"/>
                <a:gd name="csY78" fmla="*/ 186625 h 1130146"/>
                <a:gd name="csX79" fmla="*/ 444233 w 1075017"/>
                <a:gd name="csY79" fmla="*/ 212089 h 1130146"/>
                <a:gd name="csX80" fmla="*/ 385904 w 1075017"/>
                <a:gd name="csY80" fmla="*/ 206734 h 1130146"/>
                <a:gd name="csX81" fmla="*/ 68911 w 1075017"/>
                <a:gd name="csY81" fmla="*/ 523727 h 1130146"/>
                <a:gd name="csX82" fmla="*/ 385904 w 1075017"/>
                <a:gd name="csY82" fmla="*/ 840719 h 1130146"/>
                <a:gd name="csX83" fmla="*/ 702896 w 1075017"/>
                <a:gd name="csY83" fmla="*/ 523727 h 1130146"/>
                <a:gd name="csX84" fmla="*/ 702847 w 1075017"/>
                <a:gd name="csY84" fmla="*/ 518054 h 1130146"/>
                <a:gd name="csX85" fmla="*/ 730971 w 1075017"/>
                <a:gd name="csY85" fmla="*/ 522985 h 1130146"/>
                <a:gd name="csX86" fmla="*/ 771642 w 1075017"/>
                <a:gd name="csY86" fmla="*/ 512293 h 1130146"/>
                <a:gd name="csX87" fmla="*/ 771808 w 1075017"/>
                <a:gd name="csY87" fmla="*/ 523727 h 1130146"/>
                <a:gd name="csX88" fmla="*/ 682060 w 1075017"/>
                <a:gd name="csY88" fmla="*/ 771154 h 1130146"/>
                <a:gd name="csX89" fmla="*/ 982233 w 1075017"/>
                <a:gd name="csY89" fmla="*/ 1071327 h 1130146"/>
                <a:gd name="csX90" fmla="*/ 982233 w 1075017"/>
                <a:gd name="csY90" fmla="*/ 1120056 h 1130146"/>
                <a:gd name="csX91" fmla="*/ 933507 w 1075017"/>
                <a:gd name="csY91" fmla="*/ 1120056 h 1130146"/>
                <a:gd name="csX92" fmla="*/ 633332 w 1075017"/>
                <a:gd name="csY92" fmla="*/ 819883 h 1130146"/>
                <a:gd name="csX93" fmla="*/ 385904 w 1075017"/>
                <a:gd name="csY93" fmla="*/ 909631 h 1130146"/>
                <a:gd name="csX94" fmla="*/ 0 w 1075017"/>
                <a:gd name="csY94" fmla="*/ 523727 h 1130146"/>
                <a:gd name="csX95" fmla="*/ 385904 w 1075017"/>
                <a:gd name="csY95" fmla="*/ 137823 h 113014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Lst>
              <a:rect l="l" t="t" r="r" b="b"/>
              <a:pathLst>
                <a:path w="1075017" h="1130146">
                  <a:moveTo>
                    <a:pt x="656957" y="333865"/>
                  </a:moveTo>
                  <a:cubicBezTo>
                    <a:pt x="653192" y="329000"/>
                    <a:pt x="649118" y="324363"/>
                    <a:pt x="644752" y="319983"/>
                  </a:cubicBezTo>
                  <a:cubicBezTo>
                    <a:pt x="628500" y="303679"/>
                    <a:pt x="608656" y="291399"/>
                    <a:pt x="586808" y="284119"/>
                  </a:cubicBezTo>
                  <a:lnTo>
                    <a:pt x="515071" y="260821"/>
                  </a:lnTo>
                  <a:cubicBezTo>
                    <a:pt x="509542" y="258873"/>
                    <a:pt x="504754" y="255256"/>
                    <a:pt x="501366" y="250474"/>
                  </a:cubicBezTo>
                  <a:cubicBezTo>
                    <a:pt x="497981" y="245693"/>
                    <a:pt x="496162" y="239978"/>
                    <a:pt x="496162" y="234120"/>
                  </a:cubicBezTo>
                  <a:cubicBezTo>
                    <a:pt x="496162" y="228261"/>
                    <a:pt x="497981" y="222547"/>
                    <a:pt x="501366" y="217764"/>
                  </a:cubicBezTo>
                  <a:cubicBezTo>
                    <a:pt x="504754" y="212982"/>
                    <a:pt x="509542" y="209367"/>
                    <a:pt x="515071" y="207418"/>
                  </a:cubicBezTo>
                  <a:lnTo>
                    <a:pt x="586808" y="184121"/>
                  </a:lnTo>
                  <a:cubicBezTo>
                    <a:pt x="608353" y="176688"/>
                    <a:pt x="627882" y="164376"/>
                    <a:pt x="643875" y="148148"/>
                  </a:cubicBezTo>
                  <a:cubicBezTo>
                    <a:pt x="659427" y="132365"/>
                    <a:pt x="671222" y="113294"/>
                    <a:pt x="678394" y="92351"/>
                  </a:cubicBezTo>
                  <a:lnTo>
                    <a:pt x="678990" y="90577"/>
                  </a:lnTo>
                  <a:lnTo>
                    <a:pt x="702304" y="18895"/>
                  </a:lnTo>
                  <a:cubicBezTo>
                    <a:pt x="704255" y="13370"/>
                    <a:pt x="707872" y="8586"/>
                    <a:pt x="712660" y="5201"/>
                  </a:cubicBezTo>
                  <a:cubicBezTo>
                    <a:pt x="717445" y="1817"/>
                    <a:pt x="723162" y="0"/>
                    <a:pt x="729028" y="0"/>
                  </a:cubicBezTo>
                  <a:cubicBezTo>
                    <a:pt x="734891" y="0"/>
                    <a:pt x="740607" y="1817"/>
                    <a:pt x="745393" y="5201"/>
                  </a:cubicBezTo>
                  <a:cubicBezTo>
                    <a:pt x="750181" y="8586"/>
                    <a:pt x="753797" y="13370"/>
                    <a:pt x="755749" y="18895"/>
                  </a:cubicBezTo>
                  <a:lnTo>
                    <a:pt x="779063" y="90577"/>
                  </a:lnTo>
                  <a:cubicBezTo>
                    <a:pt x="786312" y="112369"/>
                    <a:pt x="798548" y="132172"/>
                    <a:pt x="814800" y="148411"/>
                  </a:cubicBezTo>
                  <a:cubicBezTo>
                    <a:pt x="831052" y="164650"/>
                    <a:pt x="850868" y="176877"/>
                    <a:pt x="872680" y="184121"/>
                  </a:cubicBezTo>
                  <a:lnTo>
                    <a:pt x="944417" y="207418"/>
                  </a:lnTo>
                  <a:lnTo>
                    <a:pt x="945850" y="207776"/>
                  </a:lnTo>
                  <a:cubicBezTo>
                    <a:pt x="951380" y="209726"/>
                    <a:pt x="956168" y="213340"/>
                    <a:pt x="959556" y="218123"/>
                  </a:cubicBezTo>
                  <a:cubicBezTo>
                    <a:pt x="962940" y="222905"/>
                    <a:pt x="964760" y="228619"/>
                    <a:pt x="964760" y="234478"/>
                  </a:cubicBezTo>
                  <a:cubicBezTo>
                    <a:pt x="964760" y="240337"/>
                    <a:pt x="962940" y="246051"/>
                    <a:pt x="959556" y="250832"/>
                  </a:cubicBezTo>
                  <a:cubicBezTo>
                    <a:pt x="956168" y="255614"/>
                    <a:pt x="951380" y="259231"/>
                    <a:pt x="945850" y="261180"/>
                  </a:cubicBezTo>
                  <a:lnTo>
                    <a:pt x="874114" y="284477"/>
                  </a:lnTo>
                  <a:cubicBezTo>
                    <a:pt x="852305" y="291721"/>
                    <a:pt x="832486" y="303949"/>
                    <a:pt x="816236" y="320187"/>
                  </a:cubicBezTo>
                  <a:cubicBezTo>
                    <a:pt x="799984" y="336425"/>
                    <a:pt x="787748" y="356228"/>
                    <a:pt x="780496" y="378020"/>
                  </a:cubicBezTo>
                  <a:lnTo>
                    <a:pt x="757182" y="449702"/>
                  </a:lnTo>
                  <a:cubicBezTo>
                    <a:pt x="756973" y="450300"/>
                    <a:pt x="756744" y="450887"/>
                    <a:pt x="756493" y="451463"/>
                  </a:cubicBezTo>
                  <a:cubicBezTo>
                    <a:pt x="754439" y="456243"/>
                    <a:pt x="751099" y="460378"/>
                    <a:pt x="746829" y="463396"/>
                  </a:cubicBezTo>
                  <a:cubicBezTo>
                    <a:pt x="742044" y="466781"/>
                    <a:pt x="736324" y="468598"/>
                    <a:pt x="730461" y="468598"/>
                  </a:cubicBezTo>
                  <a:cubicBezTo>
                    <a:pt x="724598" y="468598"/>
                    <a:pt x="718878" y="466781"/>
                    <a:pt x="714093" y="463396"/>
                  </a:cubicBezTo>
                  <a:cubicBezTo>
                    <a:pt x="709308" y="460011"/>
                    <a:pt x="705689" y="455229"/>
                    <a:pt x="703740" y="449702"/>
                  </a:cubicBezTo>
                  <a:lnTo>
                    <a:pt x="680426" y="378020"/>
                  </a:lnTo>
                  <a:cubicBezTo>
                    <a:pt x="675158" y="362033"/>
                    <a:pt x="667209" y="347107"/>
                    <a:pt x="656957" y="333865"/>
                  </a:cubicBezTo>
                  <a:close/>
                  <a:moveTo>
                    <a:pt x="1064248" y="523277"/>
                  </a:moveTo>
                  <a:lnTo>
                    <a:pt x="1026270" y="510945"/>
                  </a:lnTo>
                  <a:cubicBezTo>
                    <a:pt x="1014723" y="507108"/>
                    <a:pt x="1004232" y="500636"/>
                    <a:pt x="995629" y="492039"/>
                  </a:cubicBezTo>
                  <a:cubicBezTo>
                    <a:pt x="987024" y="483441"/>
                    <a:pt x="980546" y="472958"/>
                    <a:pt x="976709" y="461420"/>
                  </a:cubicBezTo>
                  <a:lnTo>
                    <a:pt x="964366" y="423472"/>
                  </a:lnTo>
                  <a:cubicBezTo>
                    <a:pt x="963332" y="420547"/>
                    <a:pt x="961416" y="418014"/>
                    <a:pt x="958883" y="416222"/>
                  </a:cubicBezTo>
                  <a:cubicBezTo>
                    <a:pt x="956350" y="414430"/>
                    <a:pt x="953323" y="413468"/>
                    <a:pt x="950217" y="413468"/>
                  </a:cubicBezTo>
                  <a:cubicBezTo>
                    <a:pt x="947113" y="413468"/>
                    <a:pt x="944086" y="414430"/>
                    <a:pt x="941553" y="416222"/>
                  </a:cubicBezTo>
                  <a:cubicBezTo>
                    <a:pt x="939020" y="418014"/>
                    <a:pt x="937104" y="420547"/>
                    <a:pt x="936071" y="423472"/>
                  </a:cubicBezTo>
                  <a:lnTo>
                    <a:pt x="923727" y="461420"/>
                  </a:lnTo>
                  <a:cubicBezTo>
                    <a:pt x="919967" y="472878"/>
                    <a:pt x="913603" y="483309"/>
                    <a:pt x="905138" y="491901"/>
                  </a:cubicBezTo>
                  <a:cubicBezTo>
                    <a:pt x="896672" y="500493"/>
                    <a:pt x="886330" y="507009"/>
                    <a:pt x="874927" y="510945"/>
                  </a:cubicBezTo>
                  <a:lnTo>
                    <a:pt x="836948" y="523277"/>
                  </a:lnTo>
                  <a:cubicBezTo>
                    <a:pt x="834021" y="524311"/>
                    <a:pt x="831485" y="526224"/>
                    <a:pt x="829693" y="528754"/>
                  </a:cubicBezTo>
                  <a:cubicBezTo>
                    <a:pt x="827899" y="531288"/>
                    <a:pt x="826937" y="534312"/>
                    <a:pt x="826937" y="537415"/>
                  </a:cubicBezTo>
                  <a:cubicBezTo>
                    <a:pt x="826937" y="540516"/>
                    <a:pt x="827899" y="543540"/>
                    <a:pt x="829693" y="546073"/>
                  </a:cubicBezTo>
                  <a:cubicBezTo>
                    <a:pt x="831485" y="548604"/>
                    <a:pt x="834021" y="550519"/>
                    <a:pt x="836948" y="551550"/>
                  </a:cubicBezTo>
                  <a:lnTo>
                    <a:pt x="874927" y="563883"/>
                  </a:lnTo>
                  <a:cubicBezTo>
                    <a:pt x="879100" y="565275"/>
                    <a:pt x="883133" y="567009"/>
                    <a:pt x="886992" y="569065"/>
                  </a:cubicBezTo>
                  <a:lnTo>
                    <a:pt x="887072" y="569484"/>
                  </a:lnTo>
                  <a:cubicBezTo>
                    <a:pt x="893853" y="573103"/>
                    <a:pt x="900082" y="577712"/>
                    <a:pt x="905551" y="583181"/>
                  </a:cubicBezTo>
                  <a:cubicBezTo>
                    <a:pt x="914165" y="591795"/>
                    <a:pt x="920648" y="602300"/>
                    <a:pt x="924482" y="613863"/>
                  </a:cubicBezTo>
                  <a:lnTo>
                    <a:pt x="936831" y="651819"/>
                  </a:lnTo>
                  <a:cubicBezTo>
                    <a:pt x="937865" y="654744"/>
                    <a:pt x="939778" y="657277"/>
                    <a:pt x="942311" y="659072"/>
                  </a:cubicBezTo>
                  <a:cubicBezTo>
                    <a:pt x="944844" y="660863"/>
                    <a:pt x="947871" y="661825"/>
                    <a:pt x="950972" y="661825"/>
                  </a:cubicBezTo>
                  <a:cubicBezTo>
                    <a:pt x="954076" y="661825"/>
                    <a:pt x="957102" y="660863"/>
                    <a:pt x="959635" y="659072"/>
                  </a:cubicBezTo>
                  <a:cubicBezTo>
                    <a:pt x="961854" y="657500"/>
                    <a:pt x="963602" y="655359"/>
                    <a:pt x="964694" y="652880"/>
                  </a:cubicBezTo>
                  <a:lnTo>
                    <a:pt x="964688" y="652641"/>
                  </a:lnTo>
                  <a:cubicBezTo>
                    <a:pt x="964848" y="652282"/>
                    <a:pt x="964994" y="651918"/>
                    <a:pt x="965124" y="651546"/>
                  </a:cubicBezTo>
                  <a:lnTo>
                    <a:pt x="977467" y="613598"/>
                  </a:lnTo>
                  <a:cubicBezTo>
                    <a:pt x="981307" y="602060"/>
                    <a:pt x="987784" y="591577"/>
                    <a:pt x="996387" y="582979"/>
                  </a:cubicBezTo>
                  <a:cubicBezTo>
                    <a:pt x="1004990" y="574382"/>
                    <a:pt x="1015484" y="567910"/>
                    <a:pt x="1027028" y="564073"/>
                  </a:cubicBezTo>
                  <a:lnTo>
                    <a:pt x="1065007" y="551741"/>
                  </a:lnTo>
                  <a:cubicBezTo>
                    <a:pt x="1067934" y="550707"/>
                    <a:pt x="1070470" y="548794"/>
                    <a:pt x="1072262" y="546264"/>
                  </a:cubicBezTo>
                  <a:cubicBezTo>
                    <a:pt x="1074056" y="543730"/>
                    <a:pt x="1075018" y="540706"/>
                    <a:pt x="1075018" y="537603"/>
                  </a:cubicBezTo>
                  <a:cubicBezTo>
                    <a:pt x="1075018" y="534502"/>
                    <a:pt x="1074056" y="531478"/>
                    <a:pt x="1072262" y="528945"/>
                  </a:cubicBezTo>
                  <a:cubicBezTo>
                    <a:pt x="1070470" y="526414"/>
                    <a:pt x="1067934" y="524499"/>
                    <a:pt x="1065007" y="523468"/>
                  </a:cubicBezTo>
                  <a:lnTo>
                    <a:pt x="1064248" y="523277"/>
                  </a:lnTo>
                  <a:close/>
                  <a:moveTo>
                    <a:pt x="385904" y="137823"/>
                  </a:moveTo>
                  <a:cubicBezTo>
                    <a:pt x="425740" y="137823"/>
                    <a:pt x="464165" y="143859"/>
                    <a:pt x="500316" y="155066"/>
                  </a:cubicBezTo>
                  <a:lnTo>
                    <a:pt x="498188" y="155752"/>
                  </a:lnTo>
                  <a:cubicBezTo>
                    <a:pt x="481437" y="161454"/>
                    <a:pt x="466883" y="172247"/>
                    <a:pt x="456566" y="186625"/>
                  </a:cubicBezTo>
                  <a:cubicBezTo>
                    <a:pt x="451009" y="194361"/>
                    <a:pt x="446844" y="202979"/>
                    <a:pt x="444233" y="212089"/>
                  </a:cubicBezTo>
                  <a:cubicBezTo>
                    <a:pt x="425327" y="208573"/>
                    <a:pt x="405830" y="206734"/>
                    <a:pt x="385904" y="206734"/>
                  </a:cubicBezTo>
                  <a:cubicBezTo>
                    <a:pt x="210833" y="206734"/>
                    <a:pt x="68911" y="348656"/>
                    <a:pt x="68911" y="523727"/>
                  </a:cubicBezTo>
                  <a:cubicBezTo>
                    <a:pt x="68911" y="698798"/>
                    <a:pt x="210833" y="840719"/>
                    <a:pt x="385904" y="840719"/>
                  </a:cubicBezTo>
                  <a:cubicBezTo>
                    <a:pt x="560975" y="840719"/>
                    <a:pt x="702896" y="698798"/>
                    <a:pt x="702896" y="523727"/>
                  </a:cubicBezTo>
                  <a:cubicBezTo>
                    <a:pt x="702896" y="521833"/>
                    <a:pt x="702880" y="519942"/>
                    <a:pt x="702847" y="518054"/>
                  </a:cubicBezTo>
                  <a:cubicBezTo>
                    <a:pt x="711814" y="521296"/>
                    <a:pt x="721326" y="522985"/>
                    <a:pt x="730971" y="522985"/>
                  </a:cubicBezTo>
                  <a:cubicBezTo>
                    <a:pt x="745271" y="522985"/>
                    <a:pt x="759274" y="519278"/>
                    <a:pt x="771642" y="512293"/>
                  </a:cubicBezTo>
                  <a:cubicBezTo>
                    <a:pt x="771753" y="516091"/>
                    <a:pt x="771808" y="519901"/>
                    <a:pt x="771808" y="523727"/>
                  </a:cubicBezTo>
                  <a:cubicBezTo>
                    <a:pt x="771808" y="617884"/>
                    <a:pt x="738085" y="704167"/>
                    <a:pt x="682060" y="771154"/>
                  </a:cubicBezTo>
                  <a:lnTo>
                    <a:pt x="982233" y="1071327"/>
                  </a:lnTo>
                  <a:cubicBezTo>
                    <a:pt x="995690" y="1084784"/>
                    <a:pt x="995690" y="1106599"/>
                    <a:pt x="982233" y="1120056"/>
                  </a:cubicBezTo>
                  <a:cubicBezTo>
                    <a:pt x="968779" y="1133510"/>
                    <a:pt x="946961" y="1133510"/>
                    <a:pt x="933507" y="1120056"/>
                  </a:cubicBezTo>
                  <a:lnTo>
                    <a:pt x="633332" y="819883"/>
                  </a:lnTo>
                  <a:cubicBezTo>
                    <a:pt x="566344" y="875908"/>
                    <a:pt x="480062" y="909631"/>
                    <a:pt x="385904" y="909631"/>
                  </a:cubicBezTo>
                  <a:cubicBezTo>
                    <a:pt x="172775" y="909631"/>
                    <a:pt x="0" y="736856"/>
                    <a:pt x="0" y="523727"/>
                  </a:cubicBezTo>
                  <a:cubicBezTo>
                    <a:pt x="0" y="310597"/>
                    <a:pt x="172775" y="137823"/>
                    <a:pt x="385904" y="137823"/>
                  </a:cubicBezTo>
                  <a:close/>
                </a:path>
              </a:pathLst>
            </a:custGeom>
            <a:solidFill>
              <a:schemeClr val="bg1"/>
            </a:solidFill>
            <a:ln w="273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24" name="Graphic 140">
              <a:extLst>
                <a:ext uri="{FF2B5EF4-FFF2-40B4-BE49-F238E27FC236}">
                  <a16:creationId xmlns:a16="http://schemas.microsoft.com/office/drawing/2014/main" id="{798F0D54-9BC5-7CF6-1090-D88B5159323E}"/>
                </a:ext>
              </a:extLst>
            </p:cNvPr>
            <p:cNvSpPr/>
            <p:nvPr/>
          </p:nvSpPr>
          <p:spPr>
            <a:xfrm>
              <a:off x="9600020" y="4723804"/>
              <a:ext cx="258120" cy="286803"/>
            </a:xfrm>
            <a:custGeom>
              <a:avLst/>
              <a:gdLst>
                <a:gd name="csX0" fmla="*/ 0 w 859618"/>
                <a:gd name="csY0" fmla="*/ 179087 h 955142"/>
                <a:gd name="csX1" fmla="*/ 35817 w 859618"/>
                <a:gd name="csY1" fmla="*/ 143270 h 955142"/>
                <a:gd name="csX2" fmla="*/ 408319 w 859618"/>
                <a:gd name="csY2" fmla="*/ 7163 h 955142"/>
                <a:gd name="csX3" fmla="*/ 451300 w 859618"/>
                <a:gd name="csY3" fmla="*/ 7163 h 955142"/>
                <a:gd name="csX4" fmla="*/ 823801 w 859618"/>
                <a:gd name="csY4" fmla="*/ 143270 h 955142"/>
                <a:gd name="csX5" fmla="*/ 859619 w 859618"/>
                <a:gd name="csY5" fmla="*/ 179087 h 955142"/>
                <a:gd name="csX6" fmla="*/ 859619 w 859618"/>
                <a:gd name="csY6" fmla="*/ 429809 h 955142"/>
                <a:gd name="csX7" fmla="*/ 442942 w 859618"/>
                <a:gd name="csY7" fmla="*/ 952648 h 955142"/>
                <a:gd name="csX8" fmla="*/ 416676 w 859618"/>
                <a:gd name="csY8" fmla="*/ 952648 h 955142"/>
                <a:gd name="csX9" fmla="*/ 0 w 859618"/>
                <a:gd name="csY9" fmla="*/ 429809 h 955142"/>
                <a:gd name="csX10" fmla="*/ 0 w 859618"/>
                <a:gd name="csY10" fmla="*/ 179087 h 955142"/>
                <a:gd name="csX11" fmla="*/ 71635 w 859618"/>
                <a:gd name="csY11" fmla="*/ 213854 h 955142"/>
                <a:gd name="csX12" fmla="*/ 71635 w 859618"/>
                <a:gd name="csY12" fmla="*/ 429809 h 955142"/>
                <a:gd name="csX13" fmla="*/ 429809 w 859618"/>
                <a:gd name="csY13" fmla="*/ 880727 h 955142"/>
                <a:gd name="csX14" fmla="*/ 787984 w 859618"/>
                <a:gd name="csY14" fmla="*/ 429809 h 955142"/>
                <a:gd name="csX15" fmla="*/ 787984 w 859618"/>
                <a:gd name="csY15" fmla="*/ 213854 h 955142"/>
                <a:gd name="csX16" fmla="*/ 429809 w 859618"/>
                <a:gd name="csY16" fmla="*/ 80136 h 955142"/>
                <a:gd name="csX17" fmla="*/ 71635 w 859618"/>
                <a:gd name="csY17" fmla="*/ 213854 h 95514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859618" h="955142">
                  <a:moveTo>
                    <a:pt x="0" y="179087"/>
                  </a:moveTo>
                  <a:cubicBezTo>
                    <a:pt x="0" y="159306"/>
                    <a:pt x="16036" y="143270"/>
                    <a:pt x="35817" y="143270"/>
                  </a:cubicBezTo>
                  <a:cubicBezTo>
                    <a:pt x="162993" y="143270"/>
                    <a:pt x="286922" y="98235"/>
                    <a:pt x="408319" y="7163"/>
                  </a:cubicBezTo>
                  <a:cubicBezTo>
                    <a:pt x="421054" y="-2388"/>
                    <a:pt x="438565" y="-2388"/>
                    <a:pt x="451300" y="7163"/>
                  </a:cubicBezTo>
                  <a:cubicBezTo>
                    <a:pt x="572697" y="98235"/>
                    <a:pt x="696625" y="143270"/>
                    <a:pt x="823801" y="143270"/>
                  </a:cubicBezTo>
                  <a:cubicBezTo>
                    <a:pt x="843583" y="143270"/>
                    <a:pt x="859619" y="159306"/>
                    <a:pt x="859619" y="179087"/>
                  </a:cubicBezTo>
                  <a:lnTo>
                    <a:pt x="859619" y="429809"/>
                  </a:lnTo>
                  <a:cubicBezTo>
                    <a:pt x="859619" y="668640"/>
                    <a:pt x="718355" y="844145"/>
                    <a:pt x="442942" y="952648"/>
                  </a:cubicBezTo>
                  <a:cubicBezTo>
                    <a:pt x="434503" y="955974"/>
                    <a:pt x="425116" y="955974"/>
                    <a:pt x="416676" y="952648"/>
                  </a:cubicBezTo>
                  <a:cubicBezTo>
                    <a:pt x="141264" y="844145"/>
                    <a:pt x="0" y="668592"/>
                    <a:pt x="0" y="429809"/>
                  </a:cubicBezTo>
                  <a:lnTo>
                    <a:pt x="0" y="179087"/>
                  </a:lnTo>
                  <a:close/>
                  <a:moveTo>
                    <a:pt x="71635" y="213854"/>
                  </a:moveTo>
                  <a:lnTo>
                    <a:pt x="71635" y="429809"/>
                  </a:lnTo>
                  <a:cubicBezTo>
                    <a:pt x="71635" y="633061"/>
                    <a:pt x="188782" y="782205"/>
                    <a:pt x="429809" y="880727"/>
                  </a:cubicBezTo>
                  <a:cubicBezTo>
                    <a:pt x="670837" y="782205"/>
                    <a:pt x="787984" y="633061"/>
                    <a:pt x="787984" y="429809"/>
                  </a:cubicBezTo>
                  <a:lnTo>
                    <a:pt x="787984" y="213854"/>
                  </a:lnTo>
                  <a:cubicBezTo>
                    <a:pt x="664915" y="206595"/>
                    <a:pt x="545380" y="161799"/>
                    <a:pt x="429809" y="80136"/>
                  </a:cubicBezTo>
                  <a:cubicBezTo>
                    <a:pt x="314238" y="161799"/>
                    <a:pt x="194704" y="206595"/>
                    <a:pt x="71635" y="213854"/>
                  </a:cubicBezTo>
                  <a:close/>
                </a:path>
              </a:pathLst>
            </a:custGeom>
            <a:solidFill>
              <a:schemeClr val="bg1"/>
            </a:solidFill>
            <a:ln w="54372"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Sans Display"/>
                <a:ea typeface="+mn-ea"/>
                <a:cs typeface="+mn-cs"/>
              </a:endParaRPr>
            </a:p>
          </p:txBody>
        </p:sp>
        <p:grpSp>
          <p:nvGrpSpPr>
            <p:cNvPr id="25" name="Group 24">
              <a:extLst>
                <a:ext uri="{FF2B5EF4-FFF2-40B4-BE49-F238E27FC236}">
                  <a16:creationId xmlns:a16="http://schemas.microsoft.com/office/drawing/2014/main" id="{9CA051F3-1BC1-A3C5-226E-68288F4E2F47}"/>
                </a:ext>
              </a:extLst>
            </p:cNvPr>
            <p:cNvGrpSpPr/>
            <p:nvPr/>
          </p:nvGrpSpPr>
          <p:grpSpPr>
            <a:xfrm>
              <a:off x="4101955" y="4705297"/>
              <a:ext cx="347192" cy="277840"/>
              <a:chOff x="11776177" y="9302818"/>
              <a:chExt cx="862476" cy="690196"/>
            </a:xfrm>
            <a:solidFill>
              <a:schemeClr val="bg1"/>
            </a:solidFill>
          </p:grpSpPr>
          <p:sp>
            <p:nvSpPr>
              <p:cNvPr id="26" name="Graphic 152">
                <a:extLst>
                  <a:ext uri="{FF2B5EF4-FFF2-40B4-BE49-F238E27FC236}">
                    <a16:creationId xmlns:a16="http://schemas.microsoft.com/office/drawing/2014/main" id="{D860D1E7-BE14-8A1C-F24D-43E0FDF92AE3}"/>
                  </a:ext>
                </a:extLst>
              </p:cNvPr>
              <p:cNvSpPr/>
              <p:nvPr/>
            </p:nvSpPr>
            <p:spPr>
              <a:xfrm>
                <a:off x="11776177" y="9302818"/>
                <a:ext cx="862476" cy="690196"/>
              </a:xfrm>
              <a:custGeom>
                <a:avLst/>
                <a:gdLst>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398507 w 1028405"/>
                  <a:gd name="csY18" fmla="*/ 437072 h 822981"/>
                  <a:gd name="csX19" fmla="*/ 437072 w 1028405"/>
                  <a:gd name="csY19" fmla="*/ 475637 h 822981"/>
                  <a:gd name="csX20" fmla="*/ 437072 w 1028405"/>
                  <a:gd name="csY20" fmla="*/ 500988 h 822981"/>
                  <a:gd name="csX21" fmla="*/ 436661 w 1028405"/>
                  <a:gd name="csY21" fmla="*/ 506541 h 822981"/>
                  <a:gd name="csX22" fmla="*/ 308522 w 1028405"/>
                  <a:gd name="csY22" fmla="*/ 591384 h 822981"/>
                  <a:gd name="csX23" fmla="*/ 180382 w 1028405"/>
                  <a:gd name="csY23" fmla="*/ 506541 h 822981"/>
                  <a:gd name="csX24" fmla="*/ 179971 w 1028405"/>
                  <a:gd name="csY24" fmla="*/ 500885 h 822981"/>
                  <a:gd name="csX25" fmla="*/ 179971 w 1028405"/>
                  <a:gd name="csY25" fmla="*/ 475637 h 822981"/>
                  <a:gd name="csX26" fmla="*/ 218536 w 1028405"/>
                  <a:gd name="csY26" fmla="*/ 437072 h 822981"/>
                  <a:gd name="csX27" fmla="*/ 398507 w 1028405"/>
                  <a:gd name="csY27" fmla="*/ 437072 h 822981"/>
                  <a:gd name="csX28" fmla="*/ 578581 w 1028405"/>
                  <a:gd name="csY28" fmla="*/ 462577 h 822981"/>
                  <a:gd name="csX29" fmla="*/ 809869 w 1028405"/>
                  <a:gd name="csY29" fmla="*/ 462577 h 822981"/>
                  <a:gd name="csX30" fmla="*/ 848424 w 1028405"/>
                  <a:gd name="csY30" fmla="*/ 501152 h 822981"/>
                  <a:gd name="csX31" fmla="*/ 815114 w 1028405"/>
                  <a:gd name="csY31" fmla="*/ 539347 h 822981"/>
                  <a:gd name="csX32" fmla="*/ 809869 w 1028405"/>
                  <a:gd name="csY32" fmla="*/ 539707 h 822981"/>
                  <a:gd name="csX33" fmla="*/ 578581 w 1028405"/>
                  <a:gd name="csY33" fmla="*/ 539707 h 822981"/>
                  <a:gd name="csX34" fmla="*/ 540026 w 1028405"/>
                  <a:gd name="csY34" fmla="*/ 501131 h 822981"/>
                  <a:gd name="csX35" fmla="*/ 573336 w 1028405"/>
                  <a:gd name="csY35" fmla="*/ 462937 h 822981"/>
                  <a:gd name="csX36" fmla="*/ 578581 w 1028405"/>
                  <a:gd name="csY36" fmla="*/ 462577 h 822981"/>
                  <a:gd name="csX37" fmla="*/ 809869 w 1028405"/>
                  <a:gd name="csY37" fmla="*/ 462577 h 822981"/>
                  <a:gd name="csX38" fmla="*/ 578581 w 1028405"/>
                  <a:gd name="csY38" fmla="*/ 462577 h 822981"/>
                  <a:gd name="csX39" fmla="*/ 308522 w 1028405"/>
                  <a:gd name="csY39" fmla="*/ 231494 h 822981"/>
                  <a:gd name="csX40" fmla="*/ 385652 w 1028405"/>
                  <a:gd name="csY40" fmla="*/ 308624 h 822981"/>
                  <a:gd name="csX41" fmla="*/ 308522 w 1028405"/>
                  <a:gd name="csY41" fmla="*/ 385755 h 822981"/>
                  <a:gd name="csX42" fmla="*/ 231391 w 1028405"/>
                  <a:gd name="csY42" fmla="*/ 308624 h 822981"/>
                  <a:gd name="csX43" fmla="*/ 308522 w 1028405"/>
                  <a:gd name="csY43" fmla="*/ 231494 h 822981"/>
                  <a:gd name="csX44" fmla="*/ 578581 w 1028405"/>
                  <a:gd name="csY44" fmla="*/ 282811 h 822981"/>
                  <a:gd name="csX45" fmla="*/ 809869 w 1028405"/>
                  <a:gd name="csY45" fmla="*/ 282811 h 822981"/>
                  <a:gd name="csX46" fmla="*/ 848424 w 1028405"/>
                  <a:gd name="csY46" fmla="*/ 321387 h 822981"/>
                  <a:gd name="csX47" fmla="*/ 815114 w 1028405"/>
                  <a:gd name="csY47" fmla="*/ 359582 h 822981"/>
                  <a:gd name="csX48" fmla="*/ 809869 w 1028405"/>
                  <a:gd name="csY48" fmla="*/ 359942 h 822981"/>
                  <a:gd name="csX49" fmla="*/ 578581 w 1028405"/>
                  <a:gd name="csY49" fmla="*/ 359942 h 822981"/>
                  <a:gd name="csX50" fmla="*/ 540026 w 1028405"/>
                  <a:gd name="csY50" fmla="*/ 321366 h 822981"/>
                  <a:gd name="csX51" fmla="*/ 573336 w 1028405"/>
                  <a:gd name="csY51" fmla="*/ 283171 h 822981"/>
                  <a:gd name="csX52" fmla="*/ 578581 w 1028405"/>
                  <a:gd name="csY52" fmla="*/ 282811 h 822981"/>
                  <a:gd name="csX53" fmla="*/ 809869 w 1028405"/>
                  <a:gd name="csY53" fmla="*/ 282811 h 822981"/>
                  <a:gd name="csX54" fmla="*/ 578581 w 1028405"/>
                  <a:gd name="csY54"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398507 w 1028405"/>
                  <a:gd name="csY18" fmla="*/ 437072 h 822981"/>
                  <a:gd name="csX19" fmla="*/ 437072 w 1028405"/>
                  <a:gd name="csY19" fmla="*/ 475637 h 822981"/>
                  <a:gd name="csX20" fmla="*/ 437072 w 1028405"/>
                  <a:gd name="csY20" fmla="*/ 500988 h 822981"/>
                  <a:gd name="csX21" fmla="*/ 462061 w 1028405"/>
                  <a:gd name="csY21" fmla="*/ 598616 h 822981"/>
                  <a:gd name="csX22" fmla="*/ 308522 w 1028405"/>
                  <a:gd name="csY22" fmla="*/ 591384 h 822981"/>
                  <a:gd name="csX23" fmla="*/ 180382 w 1028405"/>
                  <a:gd name="csY23" fmla="*/ 506541 h 822981"/>
                  <a:gd name="csX24" fmla="*/ 179971 w 1028405"/>
                  <a:gd name="csY24" fmla="*/ 500885 h 822981"/>
                  <a:gd name="csX25" fmla="*/ 179971 w 1028405"/>
                  <a:gd name="csY25" fmla="*/ 475637 h 822981"/>
                  <a:gd name="csX26" fmla="*/ 218536 w 1028405"/>
                  <a:gd name="csY26" fmla="*/ 437072 h 822981"/>
                  <a:gd name="csX27" fmla="*/ 398507 w 1028405"/>
                  <a:gd name="csY27" fmla="*/ 437072 h 822981"/>
                  <a:gd name="csX28" fmla="*/ 578581 w 1028405"/>
                  <a:gd name="csY28" fmla="*/ 462577 h 822981"/>
                  <a:gd name="csX29" fmla="*/ 809869 w 1028405"/>
                  <a:gd name="csY29" fmla="*/ 462577 h 822981"/>
                  <a:gd name="csX30" fmla="*/ 848424 w 1028405"/>
                  <a:gd name="csY30" fmla="*/ 501152 h 822981"/>
                  <a:gd name="csX31" fmla="*/ 815114 w 1028405"/>
                  <a:gd name="csY31" fmla="*/ 539347 h 822981"/>
                  <a:gd name="csX32" fmla="*/ 809869 w 1028405"/>
                  <a:gd name="csY32" fmla="*/ 539707 h 822981"/>
                  <a:gd name="csX33" fmla="*/ 578581 w 1028405"/>
                  <a:gd name="csY33" fmla="*/ 539707 h 822981"/>
                  <a:gd name="csX34" fmla="*/ 540026 w 1028405"/>
                  <a:gd name="csY34" fmla="*/ 501131 h 822981"/>
                  <a:gd name="csX35" fmla="*/ 573336 w 1028405"/>
                  <a:gd name="csY35" fmla="*/ 462937 h 822981"/>
                  <a:gd name="csX36" fmla="*/ 578581 w 1028405"/>
                  <a:gd name="csY36" fmla="*/ 462577 h 822981"/>
                  <a:gd name="csX37" fmla="*/ 809869 w 1028405"/>
                  <a:gd name="csY37" fmla="*/ 462577 h 822981"/>
                  <a:gd name="csX38" fmla="*/ 578581 w 1028405"/>
                  <a:gd name="csY38" fmla="*/ 462577 h 822981"/>
                  <a:gd name="csX39" fmla="*/ 308522 w 1028405"/>
                  <a:gd name="csY39" fmla="*/ 231494 h 822981"/>
                  <a:gd name="csX40" fmla="*/ 385652 w 1028405"/>
                  <a:gd name="csY40" fmla="*/ 308624 h 822981"/>
                  <a:gd name="csX41" fmla="*/ 308522 w 1028405"/>
                  <a:gd name="csY41" fmla="*/ 385755 h 822981"/>
                  <a:gd name="csX42" fmla="*/ 231391 w 1028405"/>
                  <a:gd name="csY42" fmla="*/ 308624 h 822981"/>
                  <a:gd name="csX43" fmla="*/ 308522 w 1028405"/>
                  <a:gd name="csY43" fmla="*/ 231494 h 822981"/>
                  <a:gd name="csX44" fmla="*/ 578581 w 1028405"/>
                  <a:gd name="csY44" fmla="*/ 282811 h 822981"/>
                  <a:gd name="csX45" fmla="*/ 809869 w 1028405"/>
                  <a:gd name="csY45" fmla="*/ 282811 h 822981"/>
                  <a:gd name="csX46" fmla="*/ 848424 w 1028405"/>
                  <a:gd name="csY46" fmla="*/ 321387 h 822981"/>
                  <a:gd name="csX47" fmla="*/ 815114 w 1028405"/>
                  <a:gd name="csY47" fmla="*/ 359582 h 822981"/>
                  <a:gd name="csX48" fmla="*/ 809869 w 1028405"/>
                  <a:gd name="csY48" fmla="*/ 359942 h 822981"/>
                  <a:gd name="csX49" fmla="*/ 578581 w 1028405"/>
                  <a:gd name="csY49" fmla="*/ 359942 h 822981"/>
                  <a:gd name="csX50" fmla="*/ 540026 w 1028405"/>
                  <a:gd name="csY50" fmla="*/ 321366 h 822981"/>
                  <a:gd name="csX51" fmla="*/ 573336 w 1028405"/>
                  <a:gd name="csY51" fmla="*/ 283171 h 822981"/>
                  <a:gd name="csX52" fmla="*/ 578581 w 1028405"/>
                  <a:gd name="csY52" fmla="*/ 282811 h 822981"/>
                  <a:gd name="csX53" fmla="*/ 809869 w 1028405"/>
                  <a:gd name="csY53" fmla="*/ 282811 h 822981"/>
                  <a:gd name="csX54" fmla="*/ 578581 w 1028405"/>
                  <a:gd name="csY54"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398507 w 1028405"/>
                  <a:gd name="csY18" fmla="*/ 437072 h 822981"/>
                  <a:gd name="csX19" fmla="*/ 437072 w 1028405"/>
                  <a:gd name="csY19" fmla="*/ 475637 h 822981"/>
                  <a:gd name="csX20" fmla="*/ 437072 w 1028405"/>
                  <a:gd name="csY20" fmla="*/ 500988 h 822981"/>
                  <a:gd name="csX21" fmla="*/ 308522 w 1028405"/>
                  <a:gd name="csY21" fmla="*/ 591384 h 822981"/>
                  <a:gd name="csX22" fmla="*/ 180382 w 1028405"/>
                  <a:gd name="csY22" fmla="*/ 506541 h 822981"/>
                  <a:gd name="csX23" fmla="*/ 179971 w 1028405"/>
                  <a:gd name="csY23" fmla="*/ 500885 h 822981"/>
                  <a:gd name="csX24" fmla="*/ 179971 w 1028405"/>
                  <a:gd name="csY24" fmla="*/ 475637 h 822981"/>
                  <a:gd name="csX25" fmla="*/ 218536 w 1028405"/>
                  <a:gd name="csY25" fmla="*/ 437072 h 822981"/>
                  <a:gd name="csX26" fmla="*/ 398507 w 1028405"/>
                  <a:gd name="csY26" fmla="*/ 437072 h 822981"/>
                  <a:gd name="csX27" fmla="*/ 578581 w 1028405"/>
                  <a:gd name="csY27" fmla="*/ 462577 h 822981"/>
                  <a:gd name="csX28" fmla="*/ 809869 w 1028405"/>
                  <a:gd name="csY28" fmla="*/ 462577 h 822981"/>
                  <a:gd name="csX29" fmla="*/ 848424 w 1028405"/>
                  <a:gd name="csY29" fmla="*/ 501152 h 822981"/>
                  <a:gd name="csX30" fmla="*/ 815114 w 1028405"/>
                  <a:gd name="csY30" fmla="*/ 539347 h 822981"/>
                  <a:gd name="csX31" fmla="*/ 809869 w 1028405"/>
                  <a:gd name="csY31" fmla="*/ 539707 h 822981"/>
                  <a:gd name="csX32" fmla="*/ 578581 w 1028405"/>
                  <a:gd name="csY32" fmla="*/ 539707 h 822981"/>
                  <a:gd name="csX33" fmla="*/ 540026 w 1028405"/>
                  <a:gd name="csY33" fmla="*/ 501131 h 822981"/>
                  <a:gd name="csX34" fmla="*/ 573336 w 1028405"/>
                  <a:gd name="csY34" fmla="*/ 462937 h 822981"/>
                  <a:gd name="csX35" fmla="*/ 578581 w 1028405"/>
                  <a:gd name="csY35" fmla="*/ 462577 h 822981"/>
                  <a:gd name="csX36" fmla="*/ 809869 w 1028405"/>
                  <a:gd name="csY36" fmla="*/ 462577 h 822981"/>
                  <a:gd name="csX37" fmla="*/ 578581 w 1028405"/>
                  <a:gd name="csY37" fmla="*/ 462577 h 822981"/>
                  <a:gd name="csX38" fmla="*/ 308522 w 1028405"/>
                  <a:gd name="csY38" fmla="*/ 231494 h 822981"/>
                  <a:gd name="csX39" fmla="*/ 385652 w 1028405"/>
                  <a:gd name="csY39" fmla="*/ 308624 h 822981"/>
                  <a:gd name="csX40" fmla="*/ 308522 w 1028405"/>
                  <a:gd name="csY40" fmla="*/ 385755 h 822981"/>
                  <a:gd name="csX41" fmla="*/ 231391 w 1028405"/>
                  <a:gd name="csY41" fmla="*/ 308624 h 822981"/>
                  <a:gd name="csX42" fmla="*/ 308522 w 1028405"/>
                  <a:gd name="csY42" fmla="*/ 231494 h 822981"/>
                  <a:gd name="csX43" fmla="*/ 578581 w 1028405"/>
                  <a:gd name="csY43" fmla="*/ 282811 h 822981"/>
                  <a:gd name="csX44" fmla="*/ 809869 w 1028405"/>
                  <a:gd name="csY44" fmla="*/ 282811 h 822981"/>
                  <a:gd name="csX45" fmla="*/ 848424 w 1028405"/>
                  <a:gd name="csY45" fmla="*/ 321387 h 822981"/>
                  <a:gd name="csX46" fmla="*/ 815114 w 1028405"/>
                  <a:gd name="csY46" fmla="*/ 359582 h 822981"/>
                  <a:gd name="csX47" fmla="*/ 809869 w 1028405"/>
                  <a:gd name="csY47" fmla="*/ 359942 h 822981"/>
                  <a:gd name="csX48" fmla="*/ 578581 w 1028405"/>
                  <a:gd name="csY48" fmla="*/ 359942 h 822981"/>
                  <a:gd name="csX49" fmla="*/ 540026 w 1028405"/>
                  <a:gd name="csY49" fmla="*/ 321366 h 822981"/>
                  <a:gd name="csX50" fmla="*/ 573336 w 1028405"/>
                  <a:gd name="csY50" fmla="*/ 283171 h 822981"/>
                  <a:gd name="csX51" fmla="*/ 578581 w 1028405"/>
                  <a:gd name="csY51" fmla="*/ 282811 h 822981"/>
                  <a:gd name="csX52" fmla="*/ 809869 w 1028405"/>
                  <a:gd name="csY52" fmla="*/ 282811 h 822981"/>
                  <a:gd name="csX53" fmla="*/ 578581 w 1028405"/>
                  <a:gd name="csY53"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398507 w 1028405"/>
                  <a:gd name="csY18" fmla="*/ 437072 h 822981"/>
                  <a:gd name="csX19" fmla="*/ 437072 w 1028405"/>
                  <a:gd name="csY19" fmla="*/ 475637 h 822981"/>
                  <a:gd name="csX20" fmla="*/ 308522 w 1028405"/>
                  <a:gd name="csY20" fmla="*/ 591384 h 822981"/>
                  <a:gd name="csX21" fmla="*/ 180382 w 1028405"/>
                  <a:gd name="csY21" fmla="*/ 506541 h 822981"/>
                  <a:gd name="csX22" fmla="*/ 179971 w 1028405"/>
                  <a:gd name="csY22" fmla="*/ 500885 h 822981"/>
                  <a:gd name="csX23" fmla="*/ 179971 w 1028405"/>
                  <a:gd name="csY23" fmla="*/ 475637 h 822981"/>
                  <a:gd name="csX24" fmla="*/ 218536 w 1028405"/>
                  <a:gd name="csY24" fmla="*/ 437072 h 822981"/>
                  <a:gd name="csX25" fmla="*/ 398507 w 1028405"/>
                  <a:gd name="csY25" fmla="*/ 437072 h 822981"/>
                  <a:gd name="csX26" fmla="*/ 578581 w 1028405"/>
                  <a:gd name="csY26" fmla="*/ 462577 h 822981"/>
                  <a:gd name="csX27" fmla="*/ 809869 w 1028405"/>
                  <a:gd name="csY27" fmla="*/ 462577 h 822981"/>
                  <a:gd name="csX28" fmla="*/ 848424 w 1028405"/>
                  <a:gd name="csY28" fmla="*/ 501152 h 822981"/>
                  <a:gd name="csX29" fmla="*/ 815114 w 1028405"/>
                  <a:gd name="csY29" fmla="*/ 539347 h 822981"/>
                  <a:gd name="csX30" fmla="*/ 809869 w 1028405"/>
                  <a:gd name="csY30" fmla="*/ 539707 h 822981"/>
                  <a:gd name="csX31" fmla="*/ 578581 w 1028405"/>
                  <a:gd name="csY31" fmla="*/ 539707 h 822981"/>
                  <a:gd name="csX32" fmla="*/ 540026 w 1028405"/>
                  <a:gd name="csY32" fmla="*/ 501131 h 822981"/>
                  <a:gd name="csX33" fmla="*/ 573336 w 1028405"/>
                  <a:gd name="csY33" fmla="*/ 462937 h 822981"/>
                  <a:gd name="csX34" fmla="*/ 578581 w 1028405"/>
                  <a:gd name="csY34" fmla="*/ 462577 h 822981"/>
                  <a:gd name="csX35" fmla="*/ 809869 w 1028405"/>
                  <a:gd name="csY35" fmla="*/ 462577 h 822981"/>
                  <a:gd name="csX36" fmla="*/ 578581 w 1028405"/>
                  <a:gd name="csY36" fmla="*/ 462577 h 822981"/>
                  <a:gd name="csX37" fmla="*/ 308522 w 1028405"/>
                  <a:gd name="csY37" fmla="*/ 231494 h 822981"/>
                  <a:gd name="csX38" fmla="*/ 385652 w 1028405"/>
                  <a:gd name="csY38" fmla="*/ 308624 h 822981"/>
                  <a:gd name="csX39" fmla="*/ 308522 w 1028405"/>
                  <a:gd name="csY39" fmla="*/ 385755 h 822981"/>
                  <a:gd name="csX40" fmla="*/ 231391 w 1028405"/>
                  <a:gd name="csY40" fmla="*/ 308624 h 822981"/>
                  <a:gd name="csX41" fmla="*/ 308522 w 1028405"/>
                  <a:gd name="csY41" fmla="*/ 231494 h 822981"/>
                  <a:gd name="csX42" fmla="*/ 578581 w 1028405"/>
                  <a:gd name="csY42" fmla="*/ 282811 h 822981"/>
                  <a:gd name="csX43" fmla="*/ 809869 w 1028405"/>
                  <a:gd name="csY43" fmla="*/ 282811 h 822981"/>
                  <a:gd name="csX44" fmla="*/ 848424 w 1028405"/>
                  <a:gd name="csY44" fmla="*/ 321387 h 822981"/>
                  <a:gd name="csX45" fmla="*/ 815114 w 1028405"/>
                  <a:gd name="csY45" fmla="*/ 359582 h 822981"/>
                  <a:gd name="csX46" fmla="*/ 809869 w 1028405"/>
                  <a:gd name="csY46" fmla="*/ 359942 h 822981"/>
                  <a:gd name="csX47" fmla="*/ 578581 w 1028405"/>
                  <a:gd name="csY47" fmla="*/ 359942 h 822981"/>
                  <a:gd name="csX48" fmla="*/ 540026 w 1028405"/>
                  <a:gd name="csY48" fmla="*/ 321366 h 822981"/>
                  <a:gd name="csX49" fmla="*/ 573336 w 1028405"/>
                  <a:gd name="csY49" fmla="*/ 283171 h 822981"/>
                  <a:gd name="csX50" fmla="*/ 578581 w 1028405"/>
                  <a:gd name="csY50" fmla="*/ 282811 h 822981"/>
                  <a:gd name="csX51" fmla="*/ 809869 w 1028405"/>
                  <a:gd name="csY51" fmla="*/ 282811 h 822981"/>
                  <a:gd name="csX52" fmla="*/ 578581 w 1028405"/>
                  <a:gd name="csY52"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398507 w 1028405"/>
                  <a:gd name="csY18" fmla="*/ 437072 h 822981"/>
                  <a:gd name="csX19" fmla="*/ 308522 w 1028405"/>
                  <a:gd name="csY19" fmla="*/ 591384 h 822981"/>
                  <a:gd name="csX20" fmla="*/ 180382 w 1028405"/>
                  <a:gd name="csY20" fmla="*/ 506541 h 822981"/>
                  <a:gd name="csX21" fmla="*/ 179971 w 1028405"/>
                  <a:gd name="csY21" fmla="*/ 500885 h 822981"/>
                  <a:gd name="csX22" fmla="*/ 179971 w 1028405"/>
                  <a:gd name="csY22" fmla="*/ 475637 h 822981"/>
                  <a:gd name="csX23" fmla="*/ 218536 w 1028405"/>
                  <a:gd name="csY23" fmla="*/ 437072 h 822981"/>
                  <a:gd name="csX24" fmla="*/ 398507 w 1028405"/>
                  <a:gd name="csY24" fmla="*/ 437072 h 822981"/>
                  <a:gd name="csX25" fmla="*/ 578581 w 1028405"/>
                  <a:gd name="csY25" fmla="*/ 462577 h 822981"/>
                  <a:gd name="csX26" fmla="*/ 809869 w 1028405"/>
                  <a:gd name="csY26" fmla="*/ 462577 h 822981"/>
                  <a:gd name="csX27" fmla="*/ 848424 w 1028405"/>
                  <a:gd name="csY27" fmla="*/ 501152 h 822981"/>
                  <a:gd name="csX28" fmla="*/ 815114 w 1028405"/>
                  <a:gd name="csY28" fmla="*/ 539347 h 822981"/>
                  <a:gd name="csX29" fmla="*/ 809869 w 1028405"/>
                  <a:gd name="csY29" fmla="*/ 539707 h 822981"/>
                  <a:gd name="csX30" fmla="*/ 578581 w 1028405"/>
                  <a:gd name="csY30" fmla="*/ 539707 h 822981"/>
                  <a:gd name="csX31" fmla="*/ 540026 w 1028405"/>
                  <a:gd name="csY31" fmla="*/ 501131 h 822981"/>
                  <a:gd name="csX32" fmla="*/ 573336 w 1028405"/>
                  <a:gd name="csY32" fmla="*/ 462937 h 822981"/>
                  <a:gd name="csX33" fmla="*/ 578581 w 1028405"/>
                  <a:gd name="csY33" fmla="*/ 462577 h 822981"/>
                  <a:gd name="csX34" fmla="*/ 809869 w 1028405"/>
                  <a:gd name="csY34" fmla="*/ 462577 h 822981"/>
                  <a:gd name="csX35" fmla="*/ 578581 w 1028405"/>
                  <a:gd name="csY35" fmla="*/ 462577 h 822981"/>
                  <a:gd name="csX36" fmla="*/ 308522 w 1028405"/>
                  <a:gd name="csY36" fmla="*/ 231494 h 822981"/>
                  <a:gd name="csX37" fmla="*/ 385652 w 1028405"/>
                  <a:gd name="csY37" fmla="*/ 308624 h 822981"/>
                  <a:gd name="csX38" fmla="*/ 308522 w 1028405"/>
                  <a:gd name="csY38" fmla="*/ 385755 h 822981"/>
                  <a:gd name="csX39" fmla="*/ 231391 w 1028405"/>
                  <a:gd name="csY39" fmla="*/ 308624 h 822981"/>
                  <a:gd name="csX40" fmla="*/ 308522 w 1028405"/>
                  <a:gd name="csY40" fmla="*/ 231494 h 822981"/>
                  <a:gd name="csX41" fmla="*/ 578581 w 1028405"/>
                  <a:gd name="csY41" fmla="*/ 282811 h 822981"/>
                  <a:gd name="csX42" fmla="*/ 809869 w 1028405"/>
                  <a:gd name="csY42" fmla="*/ 282811 h 822981"/>
                  <a:gd name="csX43" fmla="*/ 848424 w 1028405"/>
                  <a:gd name="csY43" fmla="*/ 321387 h 822981"/>
                  <a:gd name="csX44" fmla="*/ 815114 w 1028405"/>
                  <a:gd name="csY44" fmla="*/ 359582 h 822981"/>
                  <a:gd name="csX45" fmla="*/ 809869 w 1028405"/>
                  <a:gd name="csY45" fmla="*/ 359942 h 822981"/>
                  <a:gd name="csX46" fmla="*/ 578581 w 1028405"/>
                  <a:gd name="csY46" fmla="*/ 359942 h 822981"/>
                  <a:gd name="csX47" fmla="*/ 540026 w 1028405"/>
                  <a:gd name="csY47" fmla="*/ 321366 h 822981"/>
                  <a:gd name="csX48" fmla="*/ 573336 w 1028405"/>
                  <a:gd name="csY48" fmla="*/ 283171 h 822981"/>
                  <a:gd name="csX49" fmla="*/ 578581 w 1028405"/>
                  <a:gd name="csY49" fmla="*/ 282811 h 822981"/>
                  <a:gd name="csX50" fmla="*/ 809869 w 1028405"/>
                  <a:gd name="csY50" fmla="*/ 282811 h 822981"/>
                  <a:gd name="csX51" fmla="*/ 578581 w 1028405"/>
                  <a:gd name="csY51"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218536 w 1028405"/>
                  <a:gd name="csY18" fmla="*/ 437072 h 822981"/>
                  <a:gd name="csX19" fmla="*/ 308522 w 1028405"/>
                  <a:gd name="csY19" fmla="*/ 591384 h 822981"/>
                  <a:gd name="csX20" fmla="*/ 180382 w 1028405"/>
                  <a:gd name="csY20" fmla="*/ 506541 h 822981"/>
                  <a:gd name="csX21" fmla="*/ 179971 w 1028405"/>
                  <a:gd name="csY21" fmla="*/ 500885 h 822981"/>
                  <a:gd name="csX22" fmla="*/ 179971 w 1028405"/>
                  <a:gd name="csY22" fmla="*/ 475637 h 822981"/>
                  <a:gd name="csX23" fmla="*/ 218536 w 1028405"/>
                  <a:gd name="csY23" fmla="*/ 437072 h 822981"/>
                  <a:gd name="csX24" fmla="*/ 578581 w 1028405"/>
                  <a:gd name="csY24" fmla="*/ 462577 h 822981"/>
                  <a:gd name="csX25" fmla="*/ 809869 w 1028405"/>
                  <a:gd name="csY25" fmla="*/ 462577 h 822981"/>
                  <a:gd name="csX26" fmla="*/ 848424 w 1028405"/>
                  <a:gd name="csY26" fmla="*/ 501152 h 822981"/>
                  <a:gd name="csX27" fmla="*/ 815114 w 1028405"/>
                  <a:gd name="csY27" fmla="*/ 539347 h 822981"/>
                  <a:gd name="csX28" fmla="*/ 809869 w 1028405"/>
                  <a:gd name="csY28" fmla="*/ 539707 h 822981"/>
                  <a:gd name="csX29" fmla="*/ 578581 w 1028405"/>
                  <a:gd name="csY29" fmla="*/ 539707 h 822981"/>
                  <a:gd name="csX30" fmla="*/ 540026 w 1028405"/>
                  <a:gd name="csY30" fmla="*/ 501131 h 822981"/>
                  <a:gd name="csX31" fmla="*/ 573336 w 1028405"/>
                  <a:gd name="csY31" fmla="*/ 462937 h 822981"/>
                  <a:gd name="csX32" fmla="*/ 578581 w 1028405"/>
                  <a:gd name="csY32" fmla="*/ 462577 h 822981"/>
                  <a:gd name="csX33" fmla="*/ 809869 w 1028405"/>
                  <a:gd name="csY33" fmla="*/ 462577 h 822981"/>
                  <a:gd name="csX34" fmla="*/ 578581 w 1028405"/>
                  <a:gd name="csY34" fmla="*/ 462577 h 822981"/>
                  <a:gd name="csX35" fmla="*/ 308522 w 1028405"/>
                  <a:gd name="csY35" fmla="*/ 231494 h 822981"/>
                  <a:gd name="csX36" fmla="*/ 385652 w 1028405"/>
                  <a:gd name="csY36" fmla="*/ 308624 h 822981"/>
                  <a:gd name="csX37" fmla="*/ 308522 w 1028405"/>
                  <a:gd name="csY37" fmla="*/ 385755 h 822981"/>
                  <a:gd name="csX38" fmla="*/ 231391 w 1028405"/>
                  <a:gd name="csY38" fmla="*/ 308624 h 822981"/>
                  <a:gd name="csX39" fmla="*/ 308522 w 1028405"/>
                  <a:gd name="csY39" fmla="*/ 231494 h 822981"/>
                  <a:gd name="csX40" fmla="*/ 578581 w 1028405"/>
                  <a:gd name="csY40" fmla="*/ 282811 h 822981"/>
                  <a:gd name="csX41" fmla="*/ 809869 w 1028405"/>
                  <a:gd name="csY41" fmla="*/ 282811 h 822981"/>
                  <a:gd name="csX42" fmla="*/ 848424 w 1028405"/>
                  <a:gd name="csY42" fmla="*/ 321387 h 822981"/>
                  <a:gd name="csX43" fmla="*/ 815114 w 1028405"/>
                  <a:gd name="csY43" fmla="*/ 359582 h 822981"/>
                  <a:gd name="csX44" fmla="*/ 809869 w 1028405"/>
                  <a:gd name="csY44" fmla="*/ 359942 h 822981"/>
                  <a:gd name="csX45" fmla="*/ 578581 w 1028405"/>
                  <a:gd name="csY45" fmla="*/ 359942 h 822981"/>
                  <a:gd name="csX46" fmla="*/ 540026 w 1028405"/>
                  <a:gd name="csY46" fmla="*/ 321366 h 822981"/>
                  <a:gd name="csX47" fmla="*/ 573336 w 1028405"/>
                  <a:gd name="csY47" fmla="*/ 283171 h 822981"/>
                  <a:gd name="csX48" fmla="*/ 578581 w 1028405"/>
                  <a:gd name="csY48" fmla="*/ 282811 h 822981"/>
                  <a:gd name="csX49" fmla="*/ 809869 w 1028405"/>
                  <a:gd name="csY49" fmla="*/ 282811 h 822981"/>
                  <a:gd name="csX50" fmla="*/ 578581 w 1028405"/>
                  <a:gd name="csY50"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218536 w 1028405"/>
                  <a:gd name="csY18" fmla="*/ 437072 h 822981"/>
                  <a:gd name="csX19" fmla="*/ 308522 w 1028405"/>
                  <a:gd name="csY19" fmla="*/ 591384 h 822981"/>
                  <a:gd name="csX20" fmla="*/ 180382 w 1028405"/>
                  <a:gd name="csY20" fmla="*/ 506541 h 822981"/>
                  <a:gd name="csX21" fmla="*/ 179971 w 1028405"/>
                  <a:gd name="csY21" fmla="*/ 500885 h 822981"/>
                  <a:gd name="csX22" fmla="*/ 179971 w 1028405"/>
                  <a:gd name="csY22" fmla="*/ 475637 h 822981"/>
                  <a:gd name="csX23" fmla="*/ 218536 w 1028405"/>
                  <a:gd name="csY23" fmla="*/ 437072 h 822981"/>
                  <a:gd name="csX24" fmla="*/ 578581 w 1028405"/>
                  <a:gd name="csY24" fmla="*/ 462577 h 822981"/>
                  <a:gd name="csX25" fmla="*/ 809869 w 1028405"/>
                  <a:gd name="csY25" fmla="*/ 462577 h 822981"/>
                  <a:gd name="csX26" fmla="*/ 848424 w 1028405"/>
                  <a:gd name="csY26" fmla="*/ 501152 h 822981"/>
                  <a:gd name="csX27" fmla="*/ 815114 w 1028405"/>
                  <a:gd name="csY27" fmla="*/ 539347 h 822981"/>
                  <a:gd name="csX28" fmla="*/ 809869 w 1028405"/>
                  <a:gd name="csY28" fmla="*/ 539707 h 822981"/>
                  <a:gd name="csX29" fmla="*/ 578581 w 1028405"/>
                  <a:gd name="csY29" fmla="*/ 539707 h 822981"/>
                  <a:gd name="csX30" fmla="*/ 540026 w 1028405"/>
                  <a:gd name="csY30" fmla="*/ 501131 h 822981"/>
                  <a:gd name="csX31" fmla="*/ 573336 w 1028405"/>
                  <a:gd name="csY31" fmla="*/ 462937 h 822981"/>
                  <a:gd name="csX32" fmla="*/ 578581 w 1028405"/>
                  <a:gd name="csY32" fmla="*/ 462577 h 822981"/>
                  <a:gd name="csX33" fmla="*/ 809869 w 1028405"/>
                  <a:gd name="csY33" fmla="*/ 462577 h 822981"/>
                  <a:gd name="csX34" fmla="*/ 578581 w 1028405"/>
                  <a:gd name="csY34" fmla="*/ 462577 h 822981"/>
                  <a:gd name="csX35" fmla="*/ 308522 w 1028405"/>
                  <a:gd name="csY35" fmla="*/ 231494 h 822981"/>
                  <a:gd name="csX36" fmla="*/ 308522 w 1028405"/>
                  <a:gd name="csY36" fmla="*/ 385755 h 822981"/>
                  <a:gd name="csX37" fmla="*/ 231391 w 1028405"/>
                  <a:gd name="csY37" fmla="*/ 308624 h 822981"/>
                  <a:gd name="csX38" fmla="*/ 308522 w 1028405"/>
                  <a:gd name="csY38" fmla="*/ 231494 h 822981"/>
                  <a:gd name="csX39" fmla="*/ 578581 w 1028405"/>
                  <a:gd name="csY39" fmla="*/ 282811 h 822981"/>
                  <a:gd name="csX40" fmla="*/ 809869 w 1028405"/>
                  <a:gd name="csY40" fmla="*/ 282811 h 822981"/>
                  <a:gd name="csX41" fmla="*/ 848424 w 1028405"/>
                  <a:gd name="csY41" fmla="*/ 321387 h 822981"/>
                  <a:gd name="csX42" fmla="*/ 815114 w 1028405"/>
                  <a:gd name="csY42" fmla="*/ 359582 h 822981"/>
                  <a:gd name="csX43" fmla="*/ 809869 w 1028405"/>
                  <a:gd name="csY43" fmla="*/ 359942 h 822981"/>
                  <a:gd name="csX44" fmla="*/ 578581 w 1028405"/>
                  <a:gd name="csY44" fmla="*/ 359942 h 822981"/>
                  <a:gd name="csX45" fmla="*/ 540026 w 1028405"/>
                  <a:gd name="csY45" fmla="*/ 321366 h 822981"/>
                  <a:gd name="csX46" fmla="*/ 573336 w 1028405"/>
                  <a:gd name="csY46" fmla="*/ 283171 h 822981"/>
                  <a:gd name="csX47" fmla="*/ 578581 w 1028405"/>
                  <a:gd name="csY47" fmla="*/ 282811 h 822981"/>
                  <a:gd name="csX48" fmla="*/ 809869 w 1028405"/>
                  <a:gd name="csY48" fmla="*/ 282811 h 822981"/>
                  <a:gd name="csX49" fmla="*/ 578581 w 1028405"/>
                  <a:gd name="csY49"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179971 w 1028405"/>
                  <a:gd name="csY18" fmla="*/ 475637 h 822981"/>
                  <a:gd name="csX19" fmla="*/ 308522 w 1028405"/>
                  <a:gd name="csY19" fmla="*/ 591384 h 822981"/>
                  <a:gd name="csX20" fmla="*/ 180382 w 1028405"/>
                  <a:gd name="csY20" fmla="*/ 506541 h 822981"/>
                  <a:gd name="csX21" fmla="*/ 179971 w 1028405"/>
                  <a:gd name="csY21" fmla="*/ 500885 h 822981"/>
                  <a:gd name="csX22" fmla="*/ 179971 w 1028405"/>
                  <a:gd name="csY22" fmla="*/ 475637 h 822981"/>
                  <a:gd name="csX23" fmla="*/ 578581 w 1028405"/>
                  <a:gd name="csY23" fmla="*/ 462577 h 822981"/>
                  <a:gd name="csX24" fmla="*/ 809869 w 1028405"/>
                  <a:gd name="csY24" fmla="*/ 462577 h 822981"/>
                  <a:gd name="csX25" fmla="*/ 848424 w 1028405"/>
                  <a:gd name="csY25" fmla="*/ 501152 h 822981"/>
                  <a:gd name="csX26" fmla="*/ 815114 w 1028405"/>
                  <a:gd name="csY26" fmla="*/ 539347 h 822981"/>
                  <a:gd name="csX27" fmla="*/ 809869 w 1028405"/>
                  <a:gd name="csY27" fmla="*/ 539707 h 822981"/>
                  <a:gd name="csX28" fmla="*/ 578581 w 1028405"/>
                  <a:gd name="csY28" fmla="*/ 539707 h 822981"/>
                  <a:gd name="csX29" fmla="*/ 540026 w 1028405"/>
                  <a:gd name="csY29" fmla="*/ 501131 h 822981"/>
                  <a:gd name="csX30" fmla="*/ 573336 w 1028405"/>
                  <a:gd name="csY30" fmla="*/ 462937 h 822981"/>
                  <a:gd name="csX31" fmla="*/ 578581 w 1028405"/>
                  <a:gd name="csY31" fmla="*/ 462577 h 822981"/>
                  <a:gd name="csX32" fmla="*/ 809869 w 1028405"/>
                  <a:gd name="csY32" fmla="*/ 462577 h 822981"/>
                  <a:gd name="csX33" fmla="*/ 578581 w 1028405"/>
                  <a:gd name="csY33" fmla="*/ 462577 h 822981"/>
                  <a:gd name="csX34" fmla="*/ 308522 w 1028405"/>
                  <a:gd name="csY34" fmla="*/ 231494 h 822981"/>
                  <a:gd name="csX35" fmla="*/ 308522 w 1028405"/>
                  <a:gd name="csY35" fmla="*/ 385755 h 822981"/>
                  <a:gd name="csX36" fmla="*/ 231391 w 1028405"/>
                  <a:gd name="csY36" fmla="*/ 308624 h 822981"/>
                  <a:gd name="csX37" fmla="*/ 308522 w 1028405"/>
                  <a:gd name="csY37" fmla="*/ 231494 h 822981"/>
                  <a:gd name="csX38" fmla="*/ 578581 w 1028405"/>
                  <a:gd name="csY38" fmla="*/ 282811 h 822981"/>
                  <a:gd name="csX39" fmla="*/ 809869 w 1028405"/>
                  <a:gd name="csY39" fmla="*/ 282811 h 822981"/>
                  <a:gd name="csX40" fmla="*/ 848424 w 1028405"/>
                  <a:gd name="csY40" fmla="*/ 321387 h 822981"/>
                  <a:gd name="csX41" fmla="*/ 815114 w 1028405"/>
                  <a:gd name="csY41" fmla="*/ 359582 h 822981"/>
                  <a:gd name="csX42" fmla="*/ 809869 w 1028405"/>
                  <a:gd name="csY42" fmla="*/ 359942 h 822981"/>
                  <a:gd name="csX43" fmla="*/ 578581 w 1028405"/>
                  <a:gd name="csY43" fmla="*/ 359942 h 822981"/>
                  <a:gd name="csX44" fmla="*/ 540026 w 1028405"/>
                  <a:gd name="csY44" fmla="*/ 321366 h 822981"/>
                  <a:gd name="csX45" fmla="*/ 573336 w 1028405"/>
                  <a:gd name="csY45" fmla="*/ 283171 h 822981"/>
                  <a:gd name="csX46" fmla="*/ 578581 w 1028405"/>
                  <a:gd name="csY46" fmla="*/ 282811 h 822981"/>
                  <a:gd name="csX47" fmla="*/ 809869 w 1028405"/>
                  <a:gd name="csY47" fmla="*/ 282811 h 822981"/>
                  <a:gd name="csX48" fmla="*/ 578581 w 1028405"/>
                  <a:gd name="csY48"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179971 w 1028405"/>
                  <a:gd name="csY18" fmla="*/ 500885 h 822981"/>
                  <a:gd name="csX19" fmla="*/ 308522 w 1028405"/>
                  <a:gd name="csY19" fmla="*/ 591384 h 822981"/>
                  <a:gd name="csX20" fmla="*/ 180382 w 1028405"/>
                  <a:gd name="csY20" fmla="*/ 506541 h 822981"/>
                  <a:gd name="csX21" fmla="*/ 179971 w 1028405"/>
                  <a:gd name="csY21" fmla="*/ 500885 h 822981"/>
                  <a:gd name="csX22" fmla="*/ 578581 w 1028405"/>
                  <a:gd name="csY22" fmla="*/ 462577 h 822981"/>
                  <a:gd name="csX23" fmla="*/ 809869 w 1028405"/>
                  <a:gd name="csY23" fmla="*/ 462577 h 822981"/>
                  <a:gd name="csX24" fmla="*/ 848424 w 1028405"/>
                  <a:gd name="csY24" fmla="*/ 501152 h 822981"/>
                  <a:gd name="csX25" fmla="*/ 815114 w 1028405"/>
                  <a:gd name="csY25" fmla="*/ 539347 h 822981"/>
                  <a:gd name="csX26" fmla="*/ 809869 w 1028405"/>
                  <a:gd name="csY26" fmla="*/ 539707 h 822981"/>
                  <a:gd name="csX27" fmla="*/ 578581 w 1028405"/>
                  <a:gd name="csY27" fmla="*/ 539707 h 822981"/>
                  <a:gd name="csX28" fmla="*/ 540026 w 1028405"/>
                  <a:gd name="csY28" fmla="*/ 501131 h 822981"/>
                  <a:gd name="csX29" fmla="*/ 573336 w 1028405"/>
                  <a:gd name="csY29" fmla="*/ 462937 h 822981"/>
                  <a:gd name="csX30" fmla="*/ 578581 w 1028405"/>
                  <a:gd name="csY30" fmla="*/ 462577 h 822981"/>
                  <a:gd name="csX31" fmla="*/ 809869 w 1028405"/>
                  <a:gd name="csY31" fmla="*/ 462577 h 822981"/>
                  <a:gd name="csX32" fmla="*/ 578581 w 1028405"/>
                  <a:gd name="csY32" fmla="*/ 462577 h 822981"/>
                  <a:gd name="csX33" fmla="*/ 308522 w 1028405"/>
                  <a:gd name="csY33" fmla="*/ 231494 h 822981"/>
                  <a:gd name="csX34" fmla="*/ 308522 w 1028405"/>
                  <a:gd name="csY34" fmla="*/ 385755 h 822981"/>
                  <a:gd name="csX35" fmla="*/ 231391 w 1028405"/>
                  <a:gd name="csY35" fmla="*/ 308624 h 822981"/>
                  <a:gd name="csX36" fmla="*/ 308522 w 1028405"/>
                  <a:gd name="csY36" fmla="*/ 231494 h 822981"/>
                  <a:gd name="csX37" fmla="*/ 578581 w 1028405"/>
                  <a:gd name="csY37" fmla="*/ 282811 h 822981"/>
                  <a:gd name="csX38" fmla="*/ 809869 w 1028405"/>
                  <a:gd name="csY38" fmla="*/ 282811 h 822981"/>
                  <a:gd name="csX39" fmla="*/ 848424 w 1028405"/>
                  <a:gd name="csY39" fmla="*/ 321387 h 822981"/>
                  <a:gd name="csX40" fmla="*/ 815114 w 1028405"/>
                  <a:gd name="csY40" fmla="*/ 359582 h 822981"/>
                  <a:gd name="csX41" fmla="*/ 809869 w 1028405"/>
                  <a:gd name="csY41" fmla="*/ 359942 h 822981"/>
                  <a:gd name="csX42" fmla="*/ 578581 w 1028405"/>
                  <a:gd name="csY42" fmla="*/ 359942 h 822981"/>
                  <a:gd name="csX43" fmla="*/ 540026 w 1028405"/>
                  <a:gd name="csY43" fmla="*/ 321366 h 822981"/>
                  <a:gd name="csX44" fmla="*/ 573336 w 1028405"/>
                  <a:gd name="csY44" fmla="*/ 283171 h 822981"/>
                  <a:gd name="csX45" fmla="*/ 578581 w 1028405"/>
                  <a:gd name="csY45" fmla="*/ 282811 h 822981"/>
                  <a:gd name="csX46" fmla="*/ 809869 w 1028405"/>
                  <a:gd name="csY46" fmla="*/ 282811 h 822981"/>
                  <a:gd name="csX47" fmla="*/ 578581 w 1028405"/>
                  <a:gd name="csY47"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180382 w 1028405"/>
                  <a:gd name="csY18" fmla="*/ 506541 h 822981"/>
                  <a:gd name="csX19" fmla="*/ 308522 w 1028405"/>
                  <a:gd name="csY19" fmla="*/ 591384 h 822981"/>
                  <a:gd name="csX20" fmla="*/ 180382 w 1028405"/>
                  <a:gd name="csY20" fmla="*/ 506541 h 822981"/>
                  <a:gd name="csX21" fmla="*/ 578581 w 1028405"/>
                  <a:gd name="csY21" fmla="*/ 462577 h 822981"/>
                  <a:gd name="csX22" fmla="*/ 809869 w 1028405"/>
                  <a:gd name="csY22" fmla="*/ 462577 h 822981"/>
                  <a:gd name="csX23" fmla="*/ 848424 w 1028405"/>
                  <a:gd name="csY23" fmla="*/ 501152 h 822981"/>
                  <a:gd name="csX24" fmla="*/ 815114 w 1028405"/>
                  <a:gd name="csY24" fmla="*/ 539347 h 822981"/>
                  <a:gd name="csX25" fmla="*/ 809869 w 1028405"/>
                  <a:gd name="csY25" fmla="*/ 539707 h 822981"/>
                  <a:gd name="csX26" fmla="*/ 578581 w 1028405"/>
                  <a:gd name="csY26" fmla="*/ 539707 h 822981"/>
                  <a:gd name="csX27" fmla="*/ 540026 w 1028405"/>
                  <a:gd name="csY27" fmla="*/ 501131 h 822981"/>
                  <a:gd name="csX28" fmla="*/ 573336 w 1028405"/>
                  <a:gd name="csY28" fmla="*/ 462937 h 822981"/>
                  <a:gd name="csX29" fmla="*/ 578581 w 1028405"/>
                  <a:gd name="csY29" fmla="*/ 462577 h 822981"/>
                  <a:gd name="csX30" fmla="*/ 809869 w 1028405"/>
                  <a:gd name="csY30" fmla="*/ 462577 h 822981"/>
                  <a:gd name="csX31" fmla="*/ 578581 w 1028405"/>
                  <a:gd name="csY31" fmla="*/ 462577 h 822981"/>
                  <a:gd name="csX32" fmla="*/ 308522 w 1028405"/>
                  <a:gd name="csY32" fmla="*/ 231494 h 822981"/>
                  <a:gd name="csX33" fmla="*/ 308522 w 1028405"/>
                  <a:gd name="csY33" fmla="*/ 385755 h 822981"/>
                  <a:gd name="csX34" fmla="*/ 231391 w 1028405"/>
                  <a:gd name="csY34" fmla="*/ 308624 h 822981"/>
                  <a:gd name="csX35" fmla="*/ 308522 w 1028405"/>
                  <a:gd name="csY35" fmla="*/ 231494 h 822981"/>
                  <a:gd name="csX36" fmla="*/ 578581 w 1028405"/>
                  <a:gd name="csY36" fmla="*/ 282811 h 822981"/>
                  <a:gd name="csX37" fmla="*/ 809869 w 1028405"/>
                  <a:gd name="csY37" fmla="*/ 282811 h 822981"/>
                  <a:gd name="csX38" fmla="*/ 848424 w 1028405"/>
                  <a:gd name="csY38" fmla="*/ 321387 h 822981"/>
                  <a:gd name="csX39" fmla="*/ 815114 w 1028405"/>
                  <a:gd name="csY39" fmla="*/ 359582 h 822981"/>
                  <a:gd name="csX40" fmla="*/ 809869 w 1028405"/>
                  <a:gd name="csY40" fmla="*/ 359942 h 822981"/>
                  <a:gd name="csX41" fmla="*/ 578581 w 1028405"/>
                  <a:gd name="csY41" fmla="*/ 359942 h 822981"/>
                  <a:gd name="csX42" fmla="*/ 540026 w 1028405"/>
                  <a:gd name="csY42" fmla="*/ 321366 h 822981"/>
                  <a:gd name="csX43" fmla="*/ 573336 w 1028405"/>
                  <a:gd name="csY43" fmla="*/ 283171 h 822981"/>
                  <a:gd name="csX44" fmla="*/ 578581 w 1028405"/>
                  <a:gd name="csY44" fmla="*/ 282811 h 822981"/>
                  <a:gd name="csX45" fmla="*/ 809869 w 1028405"/>
                  <a:gd name="csY45" fmla="*/ 282811 h 822981"/>
                  <a:gd name="csX46" fmla="*/ 578581 w 1028405"/>
                  <a:gd name="csY46"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578581 w 1028405"/>
                  <a:gd name="csY18" fmla="*/ 462577 h 822981"/>
                  <a:gd name="csX19" fmla="*/ 809869 w 1028405"/>
                  <a:gd name="csY19" fmla="*/ 462577 h 822981"/>
                  <a:gd name="csX20" fmla="*/ 848424 w 1028405"/>
                  <a:gd name="csY20" fmla="*/ 501152 h 822981"/>
                  <a:gd name="csX21" fmla="*/ 815114 w 1028405"/>
                  <a:gd name="csY21" fmla="*/ 539347 h 822981"/>
                  <a:gd name="csX22" fmla="*/ 809869 w 1028405"/>
                  <a:gd name="csY22" fmla="*/ 539707 h 822981"/>
                  <a:gd name="csX23" fmla="*/ 578581 w 1028405"/>
                  <a:gd name="csY23" fmla="*/ 539707 h 822981"/>
                  <a:gd name="csX24" fmla="*/ 540026 w 1028405"/>
                  <a:gd name="csY24" fmla="*/ 501131 h 822981"/>
                  <a:gd name="csX25" fmla="*/ 573336 w 1028405"/>
                  <a:gd name="csY25" fmla="*/ 462937 h 822981"/>
                  <a:gd name="csX26" fmla="*/ 578581 w 1028405"/>
                  <a:gd name="csY26" fmla="*/ 462577 h 822981"/>
                  <a:gd name="csX27" fmla="*/ 809869 w 1028405"/>
                  <a:gd name="csY27" fmla="*/ 462577 h 822981"/>
                  <a:gd name="csX28" fmla="*/ 578581 w 1028405"/>
                  <a:gd name="csY28" fmla="*/ 462577 h 822981"/>
                  <a:gd name="csX29" fmla="*/ 308522 w 1028405"/>
                  <a:gd name="csY29" fmla="*/ 231494 h 822981"/>
                  <a:gd name="csX30" fmla="*/ 308522 w 1028405"/>
                  <a:gd name="csY30" fmla="*/ 385755 h 822981"/>
                  <a:gd name="csX31" fmla="*/ 231391 w 1028405"/>
                  <a:gd name="csY31" fmla="*/ 308624 h 822981"/>
                  <a:gd name="csX32" fmla="*/ 308522 w 1028405"/>
                  <a:gd name="csY32" fmla="*/ 231494 h 822981"/>
                  <a:gd name="csX33" fmla="*/ 578581 w 1028405"/>
                  <a:gd name="csY33" fmla="*/ 282811 h 822981"/>
                  <a:gd name="csX34" fmla="*/ 809869 w 1028405"/>
                  <a:gd name="csY34" fmla="*/ 282811 h 822981"/>
                  <a:gd name="csX35" fmla="*/ 848424 w 1028405"/>
                  <a:gd name="csY35" fmla="*/ 321387 h 822981"/>
                  <a:gd name="csX36" fmla="*/ 815114 w 1028405"/>
                  <a:gd name="csY36" fmla="*/ 359582 h 822981"/>
                  <a:gd name="csX37" fmla="*/ 809869 w 1028405"/>
                  <a:gd name="csY37" fmla="*/ 359942 h 822981"/>
                  <a:gd name="csX38" fmla="*/ 578581 w 1028405"/>
                  <a:gd name="csY38" fmla="*/ 359942 h 822981"/>
                  <a:gd name="csX39" fmla="*/ 540026 w 1028405"/>
                  <a:gd name="csY39" fmla="*/ 321366 h 822981"/>
                  <a:gd name="csX40" fmla="*/ 573336 w 1028405"/>
                  <a:gd name="csY40" fmla="*/ 283171 h 822981"/>
                  <a:gd name="csX41" fmla="*/ 578581 w 1028405"/>
                  <a:gd name="csY41" fmla="*/ 282811 h 822981"/>
                  <a:gd name="csX42" fmla="*/ 809869 w 1028405"/>
                  <a:gd name="csY42" fmla="*/ 282811 h 822981"/>
                  <a:gd name="csX43" fmla="*/ 578581 w 1028405"/>
                  <a:gd name="csY43"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578581 w 1028405"/>
                  <a:gd name="csY18" fmla="*/ 462577 h 822981"/>
                  <a:gd name="csX19" fmla="*/ 809869 w 1028405"/>
                  <a:gd name="csY19" fmla="*/ 462577 h 822981"/>
                  <a:gd name="csX20" fmla="*/ 848424 w 1028405"/>
                  <a:gd name="csY20" fmla="*/ 501152 h 822981"/>
                  <a:gd name="csX21" fmla="*/ 815114 w 1028405"/>
                  <a:gd name="csY21" fmla="*/ 539347 h 822981"/>
                  <a:gd name="csX22" fmla="*/ 809869 w 1028405"/>
                  <a:gd name="csY22" fmla="*/ 539707 h 822981"/>
                  <a:gd name="csX23" fmla="*/ 578581 w 1028405"/>
                  <a:gd name="csY23" fmla="*/ 539707 h 822981"/>
                  <a:gd name="csX24" fmla="*/ 540026 w 1028405"/>
                  <a:gd name="csY24" fmla="*/ 501131 h 822981"/>
                  <a:gd name="csX25" fmla="*/ 573336 w 1028405"/>
                  <a:gd name="csY25" fmla="*/ 462937 h 822981"/>
                  <a:gd name="csX26" fmla="*/ 578581 w 1028405"/>
                  <a:gd name="csY26" fmla="*/ 462577 h 822981"/>
                  <a:gd name="csX27" fmla="*/ 809869 w 1028405"/>
                  <a:gd name="csY27" fmla="*/ 462577 h 822981"/>
                  <a:gd name="csX28" fmla="*/ 578581 w 1028405"/>
                  <a:gd name="csY28" fmla="*/ 462577 h 822981"/>
                  <a:gd name="csX29" fmla="*/ 308522 w 1028405"/>
                  <a:gd name="csY29" fmla="*/ 231494 h 822981"/>
                  <a:gd name="csX30" fmla="*/ 231391 w 1028405"/>
                  <a:gd name="csY30" fmla="*/ 308624 h 822981"/>
                  <a:gd name="csX31" fmla="*/ 308522 w 1028405"/>
                  <a:gd name="csY31" fmla="*/ 231494 h 822981"/>
                  <a:gd name="csX32" fmla="*/ 578581 w 1028405"/>
                  <a:gd name="csY32" fmla="*/ 282811 h 822981"/>
                  <a:gd name="csX33" fmla="*/ 809869 w 1028405"/>
                  <a:gd name="csY33" fmla="*/ 282811 h 822981"/>
                  <a:gd name="csX34" fmla="*/ 848424 w 1028405"/>
                  <a:gd name="csY34" fmla="*/ 321387 h 822981"/>
                  <a:gd name="csX35" fmla="*/ 815114 w 1028405"/>
                  <a:gd name="csY35" fmla="*/ 359582 h 822981"/>
                  <a:gd name="csX36" fmla="*/ 809869 w 1028405"/>
                  <a:gd name="csY36" fmla="*/ 359942 h 822981"/>
                  <a:gd name="csX37" fmla="*/ 578581 w 1028405"/>
                  <a:gd name="csY37" fmla="*/ 359942 h 822981"/>
                  <a:gd name="csX38" fmla="*/ 540026 w 1028405"/>
                  <a:gd name="csY38" fmla="*/ 321366 h 822981"/>
                  <a:gd name="csX39" fmla="*/ 573336 w 1028405"/>
                  <a:gd name="csY39" fmla="*/ 283171 h 822981"/>
                  <a:gd name="csX40" fmla="*/ 578581 w 1028405"/>
                  <a:gd name="csY40" fmla="*/ 282811 h 822981"/>
                  <a:gd name="csX41" fmla="*/ 809869 w 1028405"/>
                  <a:gd name="csY41" fmla="*/ 282811 h 822981"/>
                  <a:gd name="csX42" fmla="*/ 578581 w 1028405"/>
                  <a:gd name="csY42"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578581 w 1028405"/>
                  <a:gd name="csY18" fmla="*/ 462577 h 822981"/>
                  <a:gd name="csX19" fmla="*/ 809869 w 1028405"/>
                  <a:gd name="csY19" fmla="*/ 462577 h 822981"/>
                  <a:gd name="csX20" fmla="*/ 848424 w 1028405"/>
                  <a:gd name="csY20" fmla="*/ 501152 h 822981"/>
                  <a:gd name="csX21" fmla="*/ 815114 w 1028405"/>
                  <a:gd name="csY21" fmla="*/ 539347 h 822981"/>
                  <a:gd name="csX22" fmla="*/ 809869 w 1028405"/>
                  <a:gd name="csY22" fmla="*/ 539707 h 822981"/>
                  <a:gd name="csX23" fmla="*/ 578581 w 1028405"/>
                  <a:gd name="csY23" fmla="*/ 539707 h 822981"/>
                  <a:gd name="csX24" fmla="*/ 540026 w 1028405"/>
                  <a:gd name="csY24" fmla="*/ 501131 h 822981"/>
                  <a:gd name="csX25" fmla="*/ 573336 w 1028405"/>
                  <a:gd name="csY25" fmla="*/ 462937 h 822981"/>
                  <a:gd name="csX26" fmla="*/ 578581 w 1028405"/>
                  <a:gd name="csY26" fmla="*/ 462577 h 822981"/>
                  <a:gd name="csX27" fmla="*/ 809869 w 1028405"/>
                  <a:gd name="csY27" fmla="*/ 462577 h 822981"/>
                  <a:gd name="csX28" fmla="*/ 578581 w 1028405"/>
                  <a:gd name="csY28" fmla="*/ 462577 h 822981"/>
                  <a:gd name="csX29" fmla="*/ 578581 w 1028405"/>
                  <a:gd name="csY29" fmla="*/ 282811 h 822981"/>
                  <a:gd name="csX30" fmla="*/ 809869 w 1028405"/>
                  <a:gd name="csY30" fmla="*/ 282811 h 822981"/>
                  <a:gd name="csX31" fmla="*/ 848424 w 1028405"/>
                  <a:gd name="csY31" fmla="*/ 321387 h 822981"/>
                  <a:gd name="csX32" fmla="*/ 815114 w 1028405"/>
                  <a:gd name="csY32" fmla="*/ 359582 h 822981"/>
                  <a:gd name="csX33" fmla="*/ 809869 w 1028405"/>
                  <a:gd name="csY33" fmla="*/ 359942 h 822981"/>
                  <a:gd name="csX34" fmla="*/ 578581 w 1028405"/>
                  <a:gd name="csY34" fmla="*/ 359942 h 822981"/>
                  <a:gd name="csX35" fmla="*/ 540026 w 1028405"/>
                  <a:gd name="csY35" fmla="*/ 321366 h 822981"/>
                  <a:gd name="csX36" fmla="*/ 573336 w 1028405"/>
                  <a:gd name="csY36" fmla="*/ 283171 h 822981"/>
                  <a:gd name="csX37" fmla="*/ 578581 w 1028405"/>
                  <a:gd name="csY37" fmla="*/ 282811 h 822981"/>
                  <a:gd name="csX38" fmla="*/ 809869 w 1028405"/>
                  <a:gd name="csY38" fmla="*/ 282811 h 822981"/>
                  <a:gd name="csX39" fmla="*/ 578581 w 1028405"/>
                  <a:gd name="csY39" fmla="*/ 282811 h 8229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Lst>
                <a:rect l="l" t="t" r="r" b="b"/>
                <a:pathLst>
                  <a:path w="1028405" h="822981">
                    <a:moveTo>
                      <a:pt x="912709" y="0"/>
                    </a:moveTo>
                    <a:cubicBezTo>
                      <a:pt x="976604" y="0"/>
                      <a:pt x="1028405" y="51799"/>
                      <a:pt x="1028405" y="115696"/>
                    </a:cubicBezTo>
                    <a:lnTo>
                      <a:pt x="1028405" y="707286"/>
                    </a:lnTo>
                    <a:cubicBezTo>
                      <a:pt x="1028405" y="771180"/>
                      <a:pt x="976604" y="822981"/>
                      <a:pt x="912709" y="822981"/>
                    </a:cubicBezTo>
                    <a:lnTo>
                      <a:pt x="115696" y="822981"/>
                    </a:lnTo>
                    <a:cubicBezTo>
                      <a:pt x="51799" y="822981"/>
                      <a:pt x="0" y="771180"/>
                      <a:pt x="0" y="707286"/>
                    </a:cubicBezTo>
                    <a:lnTo>
                      <a:pt x="0" y="115696"/>
                    </a:lnTo>
                    <a:cubicBezTo>
                      <a:pt x="0" y="51799"/>
                      <a:pt x="51799" y="0"/>
                      <a:pt x="115696" y="0"/>
                    </a:cubicBezTo>
                    <a:lnTo>
                      <a:pt x="912709" y="0"/>
                    </a:lnTo>
                    <a:close/>
                    <a:moveTo>
                      <a:pt x="912709" y="77130"/>
                    </a:moveTo>
                    <a:lnTo>
                      <a:pt x="115696" y="77130"/>
                    </a:lnTo>
                    <a:cubicBezTo>
                      <a:pt x="94397" y="77130"/>
                      <a:pt x="77130" y="94397"/>
                      <a:pt x="77130" y="115696"/>
                    </a:cubicBezTo>
                    <a:lnTo>
                      <a:pt x="77130" y="707286"/>
                    </a:lnTo>
                    <a:cubicBezTo>
                      <a:pt x="77130" y="728574"/>
                      <a:pt x="94408" y="745851"/>
                      <a:pt x="115696" y="745851"/>
                    </a:cubicBezTo>
                    <a:lnTo>
                      <a:pt x="912709" y="745851"/>
                    </a:lnTo>
                    <a:cubicBezTo>
                      <a:pt x="934008" y="745851"/>
                      <a:pt x="951275" y="728584"/>
                      <a:pt x="951275" y="707286"/>
                    </a:cubicBezTo>
                    <a:lnTo>
                      <a:pt x="951275" y="115696"/>
                    </a:lnTo>
                    <a:cubicBezTo>
                      <a:pt x="951275" y="94397"/>
                      <a:pt x="934008" y="77130"/>
                      <a:pt x="912709" y="77130"/>
                    </a:cubicBezTo>
                    <a:close/>
                    <a:moveTo>
                      <a:pt x="578581" y="462577"/>
                    </a:moveTo>
                    <a:lnTo>
                      <a:pt x="809869" y="462577"/>
                    </a:lnTo>
                    <a:cubicBezTo>
                      <a:pt x="831167" y="462582"/>
                      <a:pt x="848429" y="479854"/>
                      <a:pt x="848424" y="501152"/>
                    </a:cubicBezTo>
                    <a:cubicBezTo>
                      <a:pt x="848419" y="520419"/>
                      <a:pt x="834196" y="536719"/>
                      <a:pt x="815114" y="539347"/>
                    </a:cubicBezTo>
                    <a:lnTo>
                      <a:pt x="809869" y="539707"/>
                    </a:lnTo>
                    <a:lnTo>
                      <a:pt x="578581" y="539707"/>
                    </a:lnTo>
                    <a:cubicBezTo>
                      <a:pt x="557282" y="539702"/>
                      <a:pt x="540021" y="522430"/>
                      <a:pt x="540026" y="501131"/>
                    </a:cubicBezTo>
                    <a:cubicBezTo>
                      <a:pt x="540031" y="481864"/>
                      <a:pt x="554254" y="465564"/>
                      <a:pt x="573336" y="462937"/>
                    </a:cubicBezTo>
                    <a:lnTo>
                      <a:pt x="578581" y="462577"/>
                    </a:lnTo>
                    <a:lnTo>
                      <a:pt x="809869" y="462577"/>
                    </a:lnTo>
                    <a:lnTo>
                      <a:pt x="578581" y="462577"/>
                    </a:lnTo>
                    <a:close/>
                    <a:moveTo>
                      <a:pt x="578581" y="282811"/>
                    </a:moveTo>
                    <a:lnTo>
                      <a:pt x="809869" y="282811"/>
                    </a:lnTo>
                    <a:cubicBezTo>
                      <a:pt x="831167" y="282818"/>
                      <a:pt x="848429" y="300090"/>
                      <a:pt x="848424" y="321387"/>
                    </a:cubicBezTo>
                    <a:cubicBezTo>
                      <a:pt x="848419" y="340654"/>
                      <a:pt x="834196" y="356954"/>
                      <a:pt x="815114" y="359582"/>
                    </a:cubicBezTo>
                    <a:lnTo>
                      <a:pt x="809869" y="359942"/>
                    </a:lnTo>
                    <a:lnTo>
                      <a:pt x="578581" y="359942"/>
                    </a:lnTo>
                    <a:cubicBezTo>
                      <a:pt x="557282" y="359937"/>
                      <a:pt x="540021" y="342665"/>
                      <a:pt x="540026" y="321366"/>
                    </a:cubicBezTo>
                    <a:cubicBezTo>
                      <a:pt x="540031" y="302102"/>
                      <a:pt x="554254" y="285797"/>
                      <a:pt x="573336" y="283171"/>
                    </a:cubicBezTo>
                    <a:lnTo>
                      <a:pt x="578581" y="282811"/>
                    </a:lnTo>
                    <a:lnTo>
                      <a:pt x="809869" y="282811"/>
                    </a:lnTo>
                    <a:lnTo>
                      <a:pt x="578581" y="282811"/>
                    </a:lnTo>
                    <a:close/>
                  </a:path>
                </a:pathLst>
              </a:custGeom>
              <a:grpFill/>
              <a:ln w="54372"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B44B1"/>
                  </a:solidFill>
                  <a:effectLst/>
                  <a:uLnTx/>
                  <a:uFillTx/>
                  <a:latin typeface="Segoe Sans Display"/>
                  <a:ea typeface="+mn-ea"/>
                  <a:cs typeface="+mn-cs"/>
                </a:endParaRPr>
              </a:p>
            </p:txBody>
          </p:sp>
          <p:sp>
            <p:nvSpPr>
              <p:cNvPr id="28" name="Graphic 8">
                <a:extLst>
                  <a:ext uri="{FF2B5EF4-FFF2-40B4-BE49-F238E27FC236}">
                    <a16:creationId xmlns:a16="http://schemas.microsoft.com/office/drawing/2014/main" id="{840541D4-1724-F91C-F988-1F98176E983A}"/>
                  </a:ext>
                </a:extLst>
              </p:cNvPr>
              <p:cNvSpPr/>
              <p:nvPr/>
            </p:nvSpPr>
            <p:spPr>
              <a:xfrm>
                <a:off x="11909015" y="9525446"/>
                <a:ext cx="279030" cy="244940"/>
              </a:xfrm>
              <a:custGeom>
                <a:avLst/>
                <a:gdLst>
                  <a:gd name="csX0" fmla="*/ 254649 w 349850"/>
                  <a:gd name="csY0" fmla="*/ 0 h 307106"/>
                  <a:gd name="csX1" fmla="*/ 95178 w 349850"/>
                  <a:gd name="csY1" fmla="*/ 0 h 307106"/>
                  <a:gd name="csX2" fmla="*/ 81796 w 349850"/>
                  <a:gd name="csY2" fmla="*/ 7724 h 307106"/>
                  <a:gd name="csX3" fmla="*/ 2073 w 349850"/>
                  <a:gd name="csY3" fmla="*/ 145829 h 307106"/>
                  <a:gd name="csX4" fmla="*/ 2073 w 349850"/>
                  <a:gd name="csY4" fmla="*/ 161278 h 307106"/>
                  <a:gd name="csX5" fmla="*/ 81808 w 349850"/>
                  <a:gd name="csY5" fmla="*/ 299382 h 307106"/>
                  <a:gd name="csX6" fmla="*/ 95190 w 349850"/>
                  <a:gd name="csY6" fmla="*/ 307107 h 307106"/>
                  <a:gd name="csX7" fmla="*/ 254661 w 349850"/>
                  <a:gd name="csY7" fmla="*/ 307107 h 307106"/>
                  <a:gd name="csX8" fmla="*/ 268042 w 349850"/>
                  <a:gd name="csY8" fmla="*/ 299382 h 307106"/>
                  <a:gd name="csX9" fmla="*/ 347778 w 349850"/>
                  <a:gd name="csY9" fmla="*/ 161278 h 307106"/>
                  <a:gd name="csX10" fmla="*/ 347778 w 349850"/>
                  <a:gd name="csY10" fmla="*/ 145829 h 307106"/>
                  <a:gd name="csX11" fmla="*/ 268019 w 349850"/>
                  <a:gd name="csY11" fmla="*/ 7724 h 307106"/>
                  <a:gd name="csX12" fmla="*/ 254637 w 349850"/>
                  <a:gd name="csY12" fmla="*/ 0 h 30710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349850" h="307106">
                    <a:moveTo>
                      <a:pt x="254649" y="0"/>
                    </a:moveTo>
                    <a:lnTo>
                      <a:pt x="95178" y="0"/>
                    </a:lnTo>
                    <a:cubicBezTo>
                      <a:pt x="89662" y="0"/>
                      <a:pt x="84560" y="2941"/>
                      <a:pt x="81796" y="7724"/>
                    </a:cubicBezTo>
                    <a:lnTo>
                      <a:pt x="2073" y="145829"/>
                    </a:lnTo>
                    <a:cubicBezTo>
                      <a:pt x="-691" y="150612"/>
                      <a:pt x="-691" y="156494"/>
                      <a:pt x="2073" y="161278"/>
                    </a:cubicBezTo>
                    <a:lnTo>
                      <a:pt x="81808" y="299382"/>
                    </a:lnTo>
                    <a:cubicBezTo>
                      <a:pt x="84572" y="304166"/>
                      <a:pt x="89662" y="307107"/>
                      <a:pt x="95190" y="307107"/>
                    </a:cubicBezTo>
                    <a:lnTo>
                      <a:pt x="254661" y="307107"/>
                    </a:lnTo>
                    <a:cubicBezTo>
                      <a:pt x="260176" y="307107"/>
                      <a:pt x="265279" y="304166"/>
                      <a:pt x="268042" y="299382"/>
                    </a:cubicBezTo>
                    <a:lnTo>
                      <a:pt x="347778" y="161278"/>
                    </a:lnTo>
                    <a:cubicBezTo>
                      <a:pt x="350542" y="156494"/>
                      <a:pt x="350542" y="150612"/>
                      <a:pt x="347778" y="145829"/>
                    </a:cubicBezTo>
                    <a:lnTo>
                      <a:pt x="268019" y="7724"/>
                    </a:lnTo>
                    <a:cubicBezTo>
                      <a:pt x="265255" y="2941"/>
                      <a:pt x="260165" y="0"/>
                      <a:pt x="254637" y="0"/>
                    </a:cubicBezTo>
                    <a:close/>
                  </a:path>
                </a:pathLst>
              </a:custGeom>
              <a:grpFill/>
              <a:ln w="1160"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B44B1"/>
                  </a:solidFill>
                  <a:effectLst/>
                  <a:uLnTx/>
                  <a:uFillTx/>
                  <a:latin typeface="Segoe Sans Display"/>
                  <a:ea typeface="+mn-ea"/>
                  <a:cs typeface="+mn-cs"/>
                </a:endParaRPr>
              </a:p>
            </p:txBody>
          </p:sp>
        </p:grpSp>
      </p:grpSp>
      <p:sp>
        <p:nvSpPr>
          <p:cNvPr id="30" name="Rectangle 29">
            <a:extLst>
              <a:ext uri="{FF2B5EF4-FFF2-40B4-BE49-F238E27FC236}">
                <a16:creationId xmlns:a16="http://schemas.microsoft.com/office/drawing/2014/main" id="{67AF2676-C023-82D1-F453-8B38D053D970}"/>
              </a:ext>
            </a:extLst>
          </p:cNvPr>
          <p:cNvSpPr/>
          <p:nvPr/>
        </p:nvSpPr>
        <p:spPr bwMode="auto">
          <a:xfrm>
            <a:off x="2328400" y="1865886"/>
            <a:ext cx="1174994" cy="2331448"/>
          </a:xfrm>
          <a:prstGeom prst="rect">
            <a:avLst/>
          </a:prstGeom>
          <a:gradFill>
            <a:gsLst>
              <a:gs pos="66000">
                <a:srgbClr val="F6F6F6"/>
              </a:gs>
              <a:gs pos="22000">
                <a:srgbClr val="F6F6F6">
                  <a:alpha val="0"/>
                </a:srgbClr>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31" name="Rectangle 30">
            <a:extLst>
              <a:ext uri="{FF2B5EF4-FFF2-40B4-BE49-F238E27FC236}">
                <a16:creationId xmlns:a16="http://schemas.microsoft.com/office/drawing/2014/main" id="{9B0C4865-DF70-7D85-2EAD-6D11F633EF17}"/>
              </a:ext>
            </a:extLst>
          </p:cNvPr>
          <p:cNvSpPr/>
          <p:nvPr/>
        </p:nvSpPr>
        <p:spPr bwMode="auto">
          <a:xfrm rot="10800000">
            <a:off x="8598485" y="1865886"/>
            <a:ext cx="1174994" cy="2331448"/>
          </a:xfrm>
          <a:prstGeom prst="rect">
            <a:avLst/>
          </a:prstGeom>
          <a:gradFill>
            <a:gsLst>
              <a:gs pos="66000">
                <a:srgbClr val="F6F6F6"/>
              </a:gs>
              <a:gs pos="22000">
                <a:srgbClr val="F6F6F6">
                  <a:alpha val="0"/>
                </a:srgbClr>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99870192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
                                        <p:tgtEl>
                                          <p:spTgt spid="4"/>
                                        </p:tgtEl>
                                      </p:cBhvr>
                                    </p:animEffect>
                                  </p:childTnLst>
                                </p:cTn>
                              </p:par>
                              <p:par>
                                <p:cTn id="11" presetID="42" presetClass="path" presetSubtype="0" decel="100000" fill="hold" grpId="1" nodeType="withEffect">
                                  <p:stCondLst>
                                    <p:cond delay="0"/>
                                  </p:stCondLst>
                                  <p:childTnLst>
                                    <p:animMotion origin="layout" path="M 0 0.03889 L 0 -1.11111E-6 " pathEditMode="relative" rAng="0" ptsTypes="AA">
                                      <p:cBhvr>
                                        <p:cTn id="12" dur="500" fill="hold"/>
                                        <p:tgtEl>
                                          <p:spTgt spid="4"/>
                                        </p:tgtEl>
                                        <p:attrNameLst>
                                          <p:attrName>ppt_x</p:attrName>
                                          <p:attrName>ppt_y</p:attrName>
                                        </p:attrNameLst>
                                      </p:cBhvr>
                                      <p:rCtr x="0" y="-1944"/>
                                    </p:animMotion>
                                  </p:childTnLst>
                                </p:cTn>
                              </p:par>
                              <p:par>
                                <p:cTn id="13" presetID="10" presetClass="entr" presetSubtype="0" fill="hold" grpId="0" nodeType="withEffect">
                                  <p:stCondLst>
                                    <p:cond delay="1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200"/>
                                        <p:tgtEl>
                                          <p:spTgt spid="2"/>
                                        </p:tgtEl>
                                      </p:cBhvr>
                                    </p:animEffect>
                                  </p:childTnLst>
                                </p:cTn>
                              </p:par>
                              <p:par>
                                <p:cTn id="16" presetID="42" presetClass="path" presetSubtype="0" decel="100000" fill="hold" grpId="1" nodeType="withEffect">
                                  <p:stCondLst>
                                    <p:cond delay="100"/>
                                  </p:stCondLst>
                                  <p:childTnLst>
                                    <p:animMotion origin="layout" path="M 0 0.03889 L 0 0 " pathEditMode="relative" rAng="0" ptsTypes="AA">
                                      <p:cBhvr>
                                        <p:cTn id="17" dur="500" fill="hold"/>
                                        <p:tgtEl>
                                          <p:spTgt spid="2"/>
                                        </p:tgtEl>
                                        <p:attrNameLst>
                                          <p:attrName>ppt_x</p:attrName>
                                          <p:attrName>ppt_y</p:attrName>
                                        </p:attrNameLst>
                                      </p:cBhvr>
                                      <p:rCtr x="0" y="-1944"/>
                                    </p:animMotion>
                                  </p:childTnLst>
                                </p:cTn>
                              </p:par>
                              <p:par>
                                <p:cTn id="18" presetID="10" presetClass="entr" presetSubtype="0" fill="hold" grpId="0" nodeType="withEffect">
                                  <p:stCondLst>
                                    <p:cond delay="10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200"/>
                                        <p:tgtEl>
                                          <p:spTgt spid="3"/>
                                        </p:tgtEl>
                                      </p:cBhvr>
                                    </p:animEffect>
                                  </p:childTnLst>
                                </p:cTn>
                              </p:par>
                              <p:par>
                                <p:cTn id="21" presetID="42" presetClass="path" presetSubtype="0" decel="100000" fill="hold" grpId="1" nodeType="withEffect">
                                  <p:stCondLst>
                                    <p:cond delay="100"/>
                                  </p:stCondLst>
                                  <p:childTnLst>
                                    <p:animMotion origin="layout" path="M 0 0.03889 L 0 -1.11111E-6 " pathEditMode="relative" rAng="0" ptsTypes="AA">
                                      <p:cBhvr>
                                        <p:cTn id="22" dur="500" fill="hold"/>
                                        <p:tgtEl>
                                          <p:spTgt spid="3"/>
                                        </p:tgtEl>
                                        <p:attrNameLst>
                                          <p:attrName>ppt_x</p:attrName>
                                          <p:attrName>ppt_y</p:attrName>
                                        </p:attrNameLst>
                                      </p:cBhvr>
                                      <p:rCtr x="0" y="-1944"/>
                                    </p:animMotion>
                                  </p:childTnLst>
                                </p:cTn>
                              </p:par>
                              <p:par>
                                <p:cTn id="23" presetID="10" presetClass="entr" presetSubtype="0" fill="hold" grpId="0" nodeType="withEffect">
                                  <p:stCondLst>
                                    <p:cond delay="10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200"/>
                                        <p:tgtEl>
                                          <p:spTgt spid="30"/>
                                        </p:tgtEl>
                                      </p:cBhvr>
                                    </p:animEffect>
                                  </p:childTnLst>
                                </p:cTn>
                              </p:par>
                              <p:par>
                                <p:cTn id="26" presetID="42" presetClass="path" presetSubtype="0" decel="100000" fill="hold" grpId="1" nodeType="withEffect">
                                  <p:stCondLst>
                                    <p:cond delay="100"/>
                                  </p:stCondLst>
                                  <p:childTnLst>
                                    <p:animMotion origin="layout" path="M 0 0.03889 L 0 0 " pathEditMode="relative" rAng="0" ptsTypes="AA">
                                      <p:cBhvr>
                                        <p:cTn id="27" dur="500" fill="hold"/>
                                        <p:tgtEl>
                                          <p:spTgt spid="30"/>
                                        </p:tgtEl>
                                        <p:attrNameLst>
                                          <p:attrName>ppt_x</p:attrName>
                                          <p:attrName>ppt_y</p:attrName>
                                        </p:attrNameLst>
                                      </p:cBhvr>
                                      <p:rCtr x="0" y="-1944"/>
                                    </p:animMotion>
                                  </p:childTnLst>
                                </p:cTn>
                              </p:par>
                              <p:par>
                                <p:cTn id="28" presetID="10" presetClass="entr" presetSubtype="0" fill="hold" grpId="0" nodeType="withEffect">
                                  <p:stCondLst>
                                    <p:cond delay="10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200"/>
                                        <p:tgtEl>
                                          <p:spTgt spid="31"/>
                                        </p:tgtEl>
                                      </p:cBhvr>
                                    </p:animEffect>
                                  </p:childTnLst>
                                </p:cTn>
                              </p:par>
                              <p:par>
                                <p:cTn id="31" presetID="42" presetClass="path" presetSubtype="0" decel="100000" fill="hold" grpId="1" nodeType="withEffect">
                                  <p:stCondLst>
                                    <p:cond delay="100"/>
                                  </p:stCondLst>
                                  <p:childTnLst>
                                    <p:animMotion origin="layout" path="M 0 0.03889 L 0 0 " pathEditMode="relative" rAng="0" ptsTypes="AA">
                                      <p:cBhvr>
                                        <p:cTn id="32" dur="500" fill="hold"/>
                                        <p:tgtEl>
                                          <p:spTgt spid="31"/>
                                        </p:tgtEl>
                                        <p:attrNameLst>
                                          <p:attrName>ppt_x</p:attrName>
                                          <p:attrName>ppt_y</p:attrName>
                                        </p:attrNameLst>
                                      </p:cBhvr>
                                      <p:rCtr x="0" y="-1944"/>
                                    </p:animMotion>
                                  </p:childTnLst>
                                </p:cTn>
                              </p:par>
                              <p:par>
                                <p:cTn id="33" presetID="10" presetClass="entr" presetSubtype="0" fill="hold" nodeType="withEffect">
                                  <p:stCondLst>
                                    <p:cond delay="10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200"/>
                                        <p:tgtEl>
                                          <p:spTgt spid="32"/>
                                        </p:tgtEl>
                                      </p:cBhvr>
                                    </p:animEffect>
                                  </p:childTnLst>
                                </p:cTn>
                              </p:par>
                              <p:par>
                                <p:cTn id="36" presetID="42" presetClass="path" presetSubtype="0" decel="100000" fill="hold" nodeType="withEffect">
                                  <p:stCondLst>
                                    <p:cond delay="100"/>
                                  </p:stCondLst>
                                  <p:childTnLst>
                                    <p:animMotion origin="layout" path="M 0 0.03889 L 0 -2.96296E-6 " pathEditMode="relative" rAng="0" ptsTypes="AA">
                                      <p:cBhvr>
                                        <p:cTn id="37" dur="500" fill="hold"/>
                                        <p:tgtEl>
                                          <p:spTgt spid="32"/>
                                        </p:tgtEl>
                                        <p:attrNameLst>
                                          <p:attrName>ppt_x</p:attrName>
                                          <p:attrName>ppt_y</p:attrName>
                                        </p:attrNameLst>
                                      </p:cBhvr>
                                      <p:rCtr x="0" y="-1944"/>
                                    </p:animMotion>
                                  </p:childTnLst>
                                </p:cTn>
                              </p:par>
                              <p:par>
                                <p:cTn id="38" presetID="10" presetClass="entr" presetSubtype="0" fill="hold" nodeType="withEffect">
                                  <p:stCondLst>
                                    <p:cond delay="100"/>
                                  </p:stCondLst>
                                  <p:childTnLst>
                                    <p:set>
                                      <p:cBhvr>
                                        <p:cTn id="39" dur="1" fill="hold">
                                          <p:stCondLst>
                                            <p:cond delay="0"/>
                                          </p:stCondLst>
                                        </p:cTn>
                                        <p:tgtEl>
                                          <p:spTgt spid="34"/>
                                        </p:tgtEl>
                                        <p:attrNameLst>
                                          <p:attrName>style.visibility</p:attrName>
                                        </p:attrNameLst>
                                      </p:cBhvr>
                                      <p:to>
                                        <p:strVal val="visible"/>
                                      </p:to>
                                    </p:set>
                                    <p:animEffect transition="in" filter="fade">
                                      <p:cBhvr>
                                        <p:cTn id="40" dur="200"/>
                                        <p:tgtEl>
                                          <p:spTgt spid="34"/>
                                        </p:tgtEl>
                                      </p:cBhvr>
                                    </p:animEffect>
                                  </p:childTnLst>
                                </p:cTn>
                              </p:par>
                              <p:par>
                                <p:cTn id="41" presetID="42" presetClass="path" presetSubtype="0" decel="100000" fill="hold" nodeType="withEffect">
                                  <p:stCondLst>
                                    <p:cond delay="100"/>
                                  </p:stCondLst>
                                  <p:childTnLst>
                                    <p:animMotion origin="layout" path="M 4.58333E-6 0.03889 L 4.58333E-6 -7.40741E-7 " pathEditMode="relative" rAng="0" ptsTypes="AA">
                                      <p:cBhvr>
                                        <p:cTn id="42" dur="500" fill="hold"/>
                                        <p:tgtEl>
                                          <p:spTgt spid="34"/>
                                        </p:tgtEl>
                                        <p:attrNameLst>
                                          <p:attrName>ppt_x</p:attrName>
                                          <p:attrName>ppt_y</p:attrName>
                                        </p:attrNameLst>
                                      </p:cBhvr>
                                      <p:rCtr x="0" y="-1944"/>
                                    </p:animMotion>
                                  </p:childTnLst>
                                </p:cTn>
                              </p:par>
                              <p:par>
                                <p:cTn id="43" presetID="10" presetClass="entr" presetSubtype="0" fill="hold" grpId="0" nodeType="withEffect">
                                  <p:stCondLst>
                                    <p:cond delay="10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200"/>
                                        <p:tgtEl>
                                          <p:spTgt spid="9"/>
                                        </p:tgtEl>
                                      </p:cBhvr>
                                    </p:animEffect>
                                  </p:childTnLst>
                                </p:cTn>
                              </p:par>
                              <p:par>
                                <p:cTn id="46" presetID="42" presetClass="path" presetSubtype="0" decel="100000" fill="hold" grpId="1" nodeType="withEffect">
                                  <p:stCondLst>
                                    <p:cond delay="100"/>
                                  </p:stCondLst>
                                  <p:childTnLst>
                                    <p:animMotion origin="layout" path="M 0 0.03889 L 0 -1.48148E-6 " pathEditMode="relative" rAng="0" ptsTypes="AA">
                                      <p:cBhvr>
                                        <p:cTn id="47" dur="500" fill="hold"/>
                                        <p:tgtEl>
                                          <p:spTgt spid="9"/>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9" grpId="0" animBg="1"/>
      <p:bldP spid="9" grpId="1" animBg="1"/>
      <p:bldP spid="2" grpId="0" animBg="1"/>
      <p:bldP spid="2" grpId="1" animBg="1"/>
      <p:bldP spid="4" grpId="0" animBg="1"/>
      <p:bldP spid="4" grpId="1" animBg="1"/>
      <p:bldP spid="33" grpId="0" animBg="1"/>
      <p:bldP spid="30" grpId="0" animBg="1"/>
      <p:bldP spid="30" grpId="1" animBg="1"/>
      <p:bldP spid="31" grpId="0" animBg="1"/>
      <p:bldP spid="31"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1781C3-26E9-8A0F-8516-FF1CBC40E766}"/>
            </a:ext>
          </a:extLst>
        </p:cNvPr>
        <p:cNvGrpSpPr/>
        <p:nvPr/>
      </p:nvGrpSpPr>
      <p:grpSpPr>
        <a:xfrm>
          <a:off x="0" y="0"/>
          <a:ext cx="0" cy="0"/>
          <a:chOff x="0" y="0"/>
          <a:chExt cx="0" cy="0"/>
        </a:xfrm>
      </p:grpSpPr>
      <p:sp>
        <p:nvSpPr>
          <p:cNvPr id="3" name="Rounded Rectangle 56">
            <a:extLst>
              <a:ext uri="{FF2B5EF4-FFF2-40B4-BE49-F238E27FC236}">
                <a16:creationId xmlns:a16="http://schemas.microsoft.com/office/drawing/2014/main" id="{91B4A481-6B04-B627-50AB-3F95AB75FF3D}"/>
              </a:ext>
            </a:extLst>
          </p:cNvPr>
          <p:cNvSpPr>
            <a:spLocks/>
          </p:cNvSpPr>
          <p:nvPr/>
        </p:nvSpPr>
        <p:spPr>
          <a:xfrm>
            <a:off x="355227" y="597186"/>
            <a:ext cx="3491944" cy="5663628"/>
          </a:xfrm>
          <a:prstGeom prst="roundRect">
            <a:avLst>
              <a:gd name="adj" fmla="val 4631"/>
            </a:avLst>
          </a:prstGeom>
          <a:solidFill>
            <a:srgbClr val="FFFFFF"/>
          </a:solidFill>
          <a:ln w="9525" cap="flat" cmpd="sng" algn="ctr">
            <a:noFill/>
            <a:prstDash val="solid"/>
            <a:headEnd type="none" w="med" len="med"/>
            <a:tailEnd type="none" w="med" len="med"/>
          </a:ln>
          <a:effectLst>
            <a:outerShdw blurRad="127000" dist="38100" dir="5400000" algn="t" rotWithShape="0">
              <a:srgbClr val="FFFFFF">
                <a:lumMod val="50000"/>
                <a:alpha val="3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11" name="Title 25">
            <a:extLst>
              <a:ext uri="{FF2B5EF4-FFF2-40B4-BE49-F238E27FC236}">
                <a16:creationId xmlns:a16="http://schemas.microsoft.com/office/drawing/2014/main" id="{0667E71A-B4C1-EB27-6EB4-64BBB5591F3B}"/>
              </a:ext>
            </a:extLst>
          </p:cNvPr>
          <p:cNvSpPr txBox="1">
            <a:spLocks/>
          </p:cNvSpPr>
          <p:nvPr/>
        </p:nvSpPr>
        <p:spPr>
          <a:xfrm>
            <a:off x="585216" y="2312711"/>
            <a:ext cx="3130257" cy="584775"/>
          </a:xfrm>
          <a:prstGeom prst="rect">
            <a:avLst/>
          </a:prstGeom>
          <a:noFill/>
        </p:spPr>
        <p:txBody>
          <a:bodyPr vert="horz" lIns="0" tIns="45720" rIns="91440" bIns="45720" rtlCol="0" anchor="b">
            <a:spAutoFit/>
          </a:bodyPr>
          <a:lstStyle>
            <a:lvl1pPr algn="l" defTabSz="914400" rtl="0" eaLnBrk="1" latinLnBrk="0" hangingPunct="1">
              <a:lnSpc>
                <a:spcPct val="90000"/>
              </a:lnSpc>
              <a:spcBef>
                <a:spcPct val="0"/>
              </a:spcBef>
              <a:buNone/>
              <a:defRPr sz="3000" b="1" i="0" kern="1200" spc="-20" baseline="0">
                <a:solidFill>
                  <a:srgbClr val="000000"/>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gradFill>
                  <a:gsLst>
                    <a:gs pos="0">
                      <a:srgbClr val="FECBE6">
                        <a:lumMod val="90000"/>
                      </a:srgbClr>
                    </a:gs>
                    <a:gs pos="99000">
                      <a:srgbClr val="2764E7"/>
                    </a:gs>
                    <a:gs pos="46000">
                      <a:srgbClr val="BABAFF">
                        <a:lumMod val="90000"/>
                      </a:srgbClr>
                    </a:gs>
                  </a:gsLst>
                  <a:lin ang="13200000" scaled="0"/>
                </a:gradFill>
                <a:effectLst/>
                <a:uLnTx/>
                <a:uFillTx/>
                <a:latin typeface="Segoe Sans Display Semibold"/>
                <a:ea typeface="+mj-ea"/>
                <a:cs typeface="Segoe UI Semibold" panose="020B0702040204020203" pitchFamily="34" charset="0"/>
              </a:rPr>
              <a:t>Registro </a:t>
            </a:r>
            <a:r>
              <a:rPr kumimoji="0" lang="en-US" sz="3200" b="0" i="0" u="none" strike="noStrike" kern="1200" cap="none" spc="0" normalizeH="0" baseline="0" noProof="0" dirty="0" err="1">
                <a:ln>
                  <a:noFill/>
                </a:ln>
                <a:gradFill>
                  <a:gsLst>
                    <a:gs pos="0">
                      <a:srgbClr val="FECBE6">
                        <a:lumMod val="90000"/>
                      </a:srgbClr>
                    </a:gs>
                    <a:gs pos="99000">
                      <a:srgbClr val="2764E7"/>
                    </a:gs>
                    <a:gs pos="46000">
                      <a:srgbClr val="BABAFF">
                        <a:lumMod val="90000"/>
                      </a:srgbClr>
                    </a:gs>
                  </a:gsLst>
                  <a:lin ang="13200000" scaled="0"/>
                </a:gradFill>
                <a:effectLst/>
                <a:uLnTx/>
                <a:uFillTx/>
                <a:latin typeface="Segoe Sans Display Semibold"/>
                <a:ea typeface="+mj-ea"/>
                <a:cs typeface="Segoe UI Semibold" panose="020B0702040204020203" pitchFamily="34" charset="0"/>
              </a:rPr>
              <a:t>agenti</a:t>
            </a:r>
            <a:r>
              <a:rPr kumimoji="0" lang="en-US" sz="3200" b="0" i="0" u="none" strike="noStrike" kern="1200" cap="none" spc="0" normalizeH="0" baseline="0" noProof="0" dirty="0">
                <a:ln>
                  <a:noFill/>
                </a:ln>
                <a:gradFill>
                  <a:gsLst>
                    <a:gs pos="0">
                      <a:srgbClr val="FECBE6">
                        <a:lumMod val="90000"/>
                      </a:srgbClr>
                    </a:gs>
                    <a:gs pos="99000">
                      <a:srgbClr val="2764E7"/>
                    </a:gs>
                    <a:gs pos="46000">
                      <a:srgbClr val="BABAFF">
                        <a:lumMod val="90000"/>
                      </a:srgbClr>
                    </a:gs>
                  </a:gsLst>
                  <a:lin ang="13200000" scaled="0"/>
                </a:gradFill>
                <a:effectLst/>
                <a:uLnTx/>
                <a:uFillTx/>
                <a:latin typeface="Segoe Sans Display Semibold"/>
                <a:ea typeface="+mj-ea"/>
                <a:cs typeface="Segoe UI Semibold" panose="020B0702040204020203" pitchFamily="34" charset="0"/>
              </a:rPr>
              <a:t> </a:t>
            </a:r>
          </a:p>
        </p:txBody>
      </p:sp>
      <p:sp>
        <p:nvSpPr>
          <p:cNvPr id="2" name="TextBox 1">
            <a:extLst>
              <a:ext uri="{FF2B5EF4-FFF2-40B4-BE49-F238E27FC236}">
                <a16:creationId xmlns:a16="http://schemas.microsoft.com/office/drawing/2014/main" id="{A9AB307B-BD20-CB64-6197-B8ECE3E23E59}"/>
              </a:ext>
            </a:extLst>
          </p:cNvPr>
          <p:cNvSpPr txBox="1"/>
          <p:nvPr/>
        </p:nvSpPr>
        <p:spPr>
          <a:xfrm>
            <a:off x="585216" y="3037250"/>
            <a:ext cx="2972372" cy="246221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err="1">
                <a:solidFill>
                  <a:srgbClr val="002060"/>
                </a:solidFill>
                <a:latin typeface="Segoe Sans Display"/>
                <a:cs typeface="Segoe Sans Display"/>
              </a:rPr>
              <a:t>Ottieni</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piena</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visibilità</a:t>
            </a:r>
            <a:r>
              <a:rPr lang="en-US" sz="1600" dirty="0">
                <a:solidFill>
                  <a:srgbClr val="002060"/>
                </a:solidFill>
                <a:latin typeface="Segoe Sans Display"/>
                <a:cs typeface="Segoe Sans Display"/>
              </a:rPr>
              <a:t> degli </a:t>
            </a:r>
            <a:r>
              <a:rPr lang="en-US" sz="1600" dirty="0" err="1">
                <a:solidFill>
                  <a:srgbClr val="002060"/>
                </a:solidFill>
                <a:latin typeface="Segoe Sans Display"/>
                <a:cs typeface="Segoe Sans Display"/>
              </a:rPr>
              <a:t>agenti</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all’interno</a:t>
            </a:r>
            <a:r>
              <a:rPr lang="en-US" sz="1600" dirty="0">
                <a:solidFill>
                  <a:srgbClr val="002060"/>
                </a:solidFill>
                <a:latin typeface="Segoe Sans Display"/>
                <a:cs typeface="Segoe Sans Display"/>
              </a:rPr>
              <a:t> della </a:t>
            </a:r>
            <a:r>
              <a:rPr lang="en-US" sz="1600" dirty="0" err="1">
                <a:solidFill>
                  <a:srgbClr val="002060"/>
                </a:solidFill>
                <a:latin typeface="Segoe Sans Display"/>
                <a:cs typeface="Segoe Sans Display"/>
              </a:rPr>
              <a:t>tua</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organizzazione</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sia</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che</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sia</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agenti</a:t>
            </a:r>
            <a:r>
              <a:rPr lang="en-US" sz="1600" dirty="0">
                <a:solidFill>
                  <a:srgbClr val="002060"/>
                </a:solidFill>
                <a:latin typeface="Segoe Sans Display"/>
                <a:cs typeface="Segoe Sans Display"/>
              </a:rPr>
              <a:t> Microsoft, partner, o </a:t>
            </a:r>
            <a:r>
              <a:rPr lang="en-US" sz="1600" dirty="0" err="1">
                <a:solidFill>
                  <a:srgbClr val="002060"/>
                </a:solidFill>
                <a:latin typeface="Segoe Sans Display"/>
                <a:cs typeface="Segoe Sans Display"/>
              </a:rPr>
              <a:t>sviluppati</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dai</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tuoi</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utenti</a:t>
            </a:r>
            <a:r>
              <a:rPr lang="en-US" sz="1600" dirty="0">
                <a:solidFill>
                  <a:srgbClr val="002060"/>
                </a:solidFill>
                <a:latin typeface="Segoe Sans Display"/>
                <a:cs typeface="Segoe Sans Display"/>
              </a:rPr>
              <a:t> o maker</a:t>
            </a:r>
            <a:r>
              <a:rPr kumimoji="0" lang="en-US" sz="1600" b="0" i="0" u="none" strike="noStrike" kern="1200" cap="none" spc="0" normalizeH="0" baseline="0" noProof="0" dirty="0">
                <a:ln>
                  <a:noFill/>
                </a:ln>
                <a:solidFill>
                  <a:srgbClr val="002060"/>
                </a:solidFill>
                <a:effectLst/>
                <a:uLnTx/>
                <a:uFillTx/>
                <a:latin typeface="Segoe Sans Display"/>
                <a:cs typeface="Segoe Sans Display"/>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rgbClr val="002060"/>
              </a:solidFill>
              <a:latin typeface="Segoe Sans Display"/>
              <a:cs typeface="Segoe Sans Display"/>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Segoe Sans Display"/>
                <a:cs typeface="Segoe Sans Display"/>
              </a:rPr>
              <a:t>A </a:t>
            </a:r>
            <a:r>
              <a:rPr kumimoji="0" lang="en-US" sz="1600" b="0" i="0" u="none" strike="noStrike" kern="1200" cap="none" spc="0" normalizeH="0" baseline="0" noProof="0" dirty="0" err="1">
                <a:ln>
                  <a:noFill/>
                </a:ln>
                <a:solidFill>
                  <a:srgbClr val="002060"/>
                </a:solidFill>
                <a:effectLst/>
                <a:uLnTx/>
                <a:uFillTx/>
                <a:latin typeface="Segoe Sans Display"/>
                <a:cs typeface="Segoe Sans Display"/>
              </a:rPr>
              <a:t>tali</a:t>
            </a:r>
            <a:r>
              <a:rPr kumimoji="0" lang="en-US" sz="1600" b="0" i="0" u="none" strike="noStrike" kern="1200" cap="none" spc="0" normalizeH="0" noProof="0" dirty="0">
                <a:ln>
                  <a:noFill/>
                </a:ln>
                <a:solidFill>
                  <a:srgbClr val="002060"/>
                </a:solidFill>
                <a:effectLst/>
                <a:uLnTx/>
                <a:uFillTx/>
                <a:latin typeface="Segoe Sans Display"/>
                <a:cs typeface="Segoe Sans Display"/>
              </a:rPr>
              <a:t> </a:t>
            </a:r>
            <a:r>
              <a:rPr kumimoji="0" lang="en-US" sz="1600" b="0" i="0" u="none" strike="noStrike" kern="1200" cap="none" spc="0" normalizeH="0" noProof="0" dirty="0" err="1">
                <a:ln>
                  <a:noFill/>
                </a:ln>
                <a:solidFill>
                  <a:srgbClr val="002060"/>
                </a:solidFill>
                <a:effectLst/>
                <a:uLnTx/>
                <a:uFillTx/>
                <a:latin typeface="Segoe Sans Display"/>
                <a:cs typeface="Segoe Sans Display"/>
              </a:rPr>
              <a:t>elementi</a:t>
            </a:r>
            <a:r>
              <a:rPr kumimoji="0" lang="en-US" sz="1600" b="0" i="0" u="none" strike="noStrike" kern="1200" cap="none" spc="0" normalizeH="0" noProof="0" dirty="0">
                <a:ln>
                  <a:noFill/>
                </a:ln>
                <a:solidFill>
                  <a:srgbClr val="002060"/>
                </a:solidFill>
                <a:effectLst/>
                <a:uLnTx/>
                <a:uFillTx/>
                <a:latin typeface="Segoe Sans Display"/>
                <a:cs typeface="Segoe Sans Display"/>
              </a:rPr>
              <a:t> </a:t>
            </a:r>
            <a:r>
              <a:rPr kumimoji="0" lang="en-US" sz="1600" b="0" i="0" u="none" strike="noStrike" kern="1200" cap="none" spc="0" normalizeH="0" noProof="0" dirty="0" err="1">
                <a:ln>
                  <a:noFill/>
                </a:ln>
                <a:solidFill>
                  <a:srgbClr val="002060"/>
                </a:solidFill>
                <a:effectLst/>
                <a:uLnTx/>
                <a:uFillTx/>
                <a:latin typeface="Segoe Sans Display"/>
                <a:cs typeface="Segoe Sans Display"/>
              </a:rPr>
              <a:t>puoi</a:t>
            </a:r>
            <a:r>
              <a:rPr kumimoji="0" lang="en-US" sz="1600" b="0" i="0" u="none" strike="noStrike" kern="1200" cap="none" spc="0" normalizeH="0" noProof="0" dirty="0">
                <a:ln>
                  <a:noFill/>
                </a:ln>
                <a:solidFill>
                  <a:srgbClr val="002060"/>
                </a:solidFill>
                <a:effectLst/>
                <a:uLnTx/>
                <a:uFillTx/>
                <a:latin typeface="Segoe Sans Display"/>
                <a:cs typeface="Segoe Sans Display"/>
              </a:rPr>
              <a:t> </a:t>
            </a:r>
            <a:r>
              <a:rPr kumimoji="0" lang="en-US" sz="1600" b="0" i="0" u="none" strike="noStrike" kern="1200" cap="none" spc="0" normalizeH="0" noProof="0" dirty="0" err="1">
                <a:ln>
                  <a:noFill/>
                </a:ln>
                <a:solidFill>
                  <a:srgbClr val="002060"/>
                </a:solidFill>
                <a:effectLst/>
                <a:uLnTx/>
                <a:uFillTx/>
                <a:latin typeface="Segoe Sans Display"/>
                <a:cs typeface="Segoe Sans Display"/>
              </a:rPr>
              <a:t>integrare</a:t>
            </a:r>
            <a:r>
              <a:rPr kumimoji="0" lang="en-US" sz="1600" b="0" i="0" u="none" strike="noStrike" kern="1200" cap="none" spc="0" normalizeH="0" noProof="0" dirty="0">
                <a:ln>
                  <a:noFill/>
                </a:ln>
                <a:solidFill>
                  <a:srgbClr val="002060"/>
                </a:solidFill>
                <a:effectLst/>
                <a:uLnTx/>
                <a:uFillTx/>
                <a:latin typeface="Segoe Sans Display"/>
                <a:cs typeface="Segoe Sans Display"/>
              </a:rPr>
              <a:t> le </a:t>
            </a:r>
            <a:r>
              <a:rPr kumimoji="0" lang="en-US" sz="1600" b="0" i="0" u="none" strike="noStrike" kern="1200" cap="none" spc="0" normalizeH="0" noProof="0" dirty="0" err="1">
                <a:ln>
                  <a:noFill/>
                </a:ln>
                <a:solidFill>
                  <a:srgbClr val="002060"/>
                </a:solidFill>
                <a:effectLst/>
                <a:uLnTx/>
                <a:uFillTx/>
                <a:latin typeface="Segoe Sans Display"/>
                <a:cs typeface="Segoe Sans Display"/>
              </a:rPr>
              <a:t>funzioni</a:t>
            </a:r>
            <a:r>
              <a:rPr kumimoji="0" lang="en-US" sz="1600" b="0" i="0" u="none" strike="noStrike" kern="1200" cap="none" spc="0" normalizeH="0" noProof="0" dirty="0">
                <a:ln>
                  <a:noFill/>
                </a:ln>
                <a:solidFill>
                  <a:srgbClr val="002060"/>
                </a:solidFill>
                <a:effectLst/>
                <a:uLnTx/>
                <a:uFillTx/>
                <a:latin typeface="Segoe Sans Display"/>
                <a:cs typeface="Segoe Sans Display"/>
              </a:rPr>
              <a:t> di </a:t>
            </a:r>
            <a:r>
              <a:rPr kumimoji="0" lang="en-US" sz="1600" b="0" i="0" u="none" strike="noStrike" kern="1200" cap="none" spc="0" normalizeH="0" noProof="0" dirty="0" err="1">
                <a:ln>
                  <a:noFill/>
                </a:ln>
                <a:solidFill>
                  <a:srgbClr val="002060"/>
                </a:solidFill>
                <a:effectLst/>
                <a:uLnTx/>
                <a:uFillTx/>
                <a:latin typeface="Segoe Sans Display"/>
                <a:cs typeface="Segoe Sans Display"/>
              </a:rPr>
              <a:t>sicurezza</a:t>
            </a:r>
            <a:r>
              <a:rPr kumimoji="0" lang="en-US" sz="1600" b="0" i="0" u="none" strike="noStrike" kern="1200" cap="none" spc="0" normalizeH="0" noProof="0" dirty="0">
                <a:ln>
                  <a:noFill/>
                </a:ln>
                <a:solidFill>
                  <a:srgbClr val="002060"/>
                </a:solidFill>
                <a:effectLst/>
                <a:uLnTx/>
                <a:uFillTx/>
                <a:latin typeface="Segoe Sans Display"/>
                <a:cs typeface="Segoe Sans Display"/>
              </a:rPr>
              <a:t> e compliance per </a:t>
            </a:r>
            <a:r>
              <a:rPr kumimoji="0" lang="en-US" sz="1600" b="0" i="0" u="none" strike="noStrike" kern="1200" cap="none" spc="0" normalizeH="0" noProof="0" dirty="0" err="1">
                <a:ln>
                  <a:noFill/>
                </a:ln>
                <a:solidFill>
                  <a:srgbClr val="002060"/>
                </a:solidFill>
                <a:effectLst/>
                <a:uLnTx/>
                <a:uFillTx/>
                <a:latin typeface="Segoe Sans Display"/>
                <a:cs typeface="Segoe Sans Display"/>
              </a:rPr>
              <a:t>mantenere</a:t>
            </a:r>
            <a:r>
              <a:rPr kumimoji="0" lang="en-US" sz="1600" b="0" i="0" u="none" strike="noStrike" kern="1200" cap="none" spc="0" normalizeH="0" noProof="0" dirty="0">
                <a:ln>
                  <a:noFill/>
                </a:ln>
                <a:solidFill>
                  <a:srgbClr val="002060"/>
                </a:solidFill>
                <a:effectLst/>
                <a:uLnTx/>
                <a:uFillTx/>
                <a:latin typeface="Segoe Sans Display"/>
                <a:cs typeface="Segoe Sans Display"/>
              </a:rPr>
              <a:t> </a:t>
            </a:r>
            <a:r>
              <a:rPr kumimoji="0" lang="en-US" sz="1600" b="0" i="0" u="none" strike="noStrike" kern="1200" cap="none" spc="0" normalizeH="0" noProof="0" dirty="0" err="1">
                <a:ln>
                  <a:noFill/>
                </a:ln>
                <a:solidFill>
                  <a:srgbClr val="002060"/>
                </a:solidFill>
                <a:effectLst/>
                <a:uLnTx/>
                <a:uFillTx/>
                <a:latin typeface="Segoe Sans Display"/>
                <a:cs typeface="Segoe Sans Display"/>
              </a:rPr>
              <a:t>una</a:t>
            </a:r>
            <a:r>
              <a:rPr kumimoji="0" lang="en-US" sz="1600" b="0" i="0" u="none" strike="noStrike" kern="1200" cap="none" spc="0" normalizeH="0" noProof="0" dirty="0">
                <a:ln>
                  <a:noFill/>
                </a:ln>
                <a:solidFill>
                  <a:srgbClr val="002060"/>
                </a:solidFill>
                <a:effectLst/>
                <a:uLnTx/>
                <a:uFillTx/>
                <a:latin typeface="Segoe Sans Display"/>
                <a:cs typeface="Segoe Sans Display"/>
              </a:rPr>
              <a:t> governance </a:t>
            </a:r>
            <a:r>
              <a:rPr kumimoji="0" lang="en-US" sz="1600" b="0" i="0" u="none" strike="noStrike" kern="1200" cap="none" spc="0" normalizeH="0" noProof="0" dirty="0" err="1">
                <a:ln>
                  <a:noFill/>
                </a:ln>
                <a:solidFill>
                  <a:srgbClr val="002060"/>
                </a:solidFill>
                <a:effectLst/>
                <a:uLnTx/>
                <a:uFillTx/>
                <a:latin typeface="Segoe Sans Display"/>
                <a:cs typeface="Segoe Sans Display"/>
              </a:rPr>
              <a:t>solida</a:t>
            </a:r>
            <a:r>
              <a:rPr kumimoji="0" lang="en-US" sz="1600" b="0" i="0" u="none" strike="noStrike" kern="1200" cap="none" spc="0" normalizeH="0" noProof="0" dirty="0">
                <a:ln>
                  <a:noFill/>
                </a:ln>
                <a:solidFill>
                  <a:srgbClr val="002060"/>
                </a:solidFill>
                <a:effectLst/>
                <a:uLnTx/>
                <a:uFillTx/>
                <a:latin typeface="Segoe Sans Display"/>
                <a:cs typeface="Segoe Sans Display"/>
              </a:rPr>
              <a:t> del </a:t>
            </a:r>
            <a:r>
              <a:rPr kumimoji="0" lang="en-US" sz="1600" b="0" i="0" u="none" strike="noStrike" kern="1200" cap="none" spc="0" normalizeH="0" noProof="0" dirty="0" err="1">
                <a:ln>
                  <a:noFill/>
                </a:ln>
                <a:solidFill>
                  <a:srgbClr val="002060"/>
                </a:solidFill>
                <a:effectLst/>
                <a:uLnTx/>
                <a:uFillTx/>
                <a:latin typeface="Segoe Sans Display"/>
                <a:cs typeface="Segoe Sans Display"/>
              </a:rPr>
              <a:t>tuo</a:t>
            </a:r>
            <a:r>
              <a:rPr kumimoji="0" lang="en-US" sz="1600" b="0" i="0" u="none" strike="noStrike" kern="1200" cap="none" spc="0" normalizeH="0" noProof="0" dirty="0">
                <a:ln>
                  <a:noFill/>
                </a:ln>
                <a:solidFill>
                  <a:srgbClr val="002060"/>
                </a:solidFill>
                <a:effectLst/>
                <a:uLnTx/>
                <a:uFillTx/>
                <a:latin typeface="Segoe Sans Display"/>
                <a:cs typeface="Segoe Sans Display"/>
              </a:rPr>
              <a:t> tenant.</a:t>
            </a:r>
            <a:endParaRPr kumimoji="0" lang="en-US" sz="1600" b="0" i="0" u="none" strike="noStrike" kern="1200" cap="none" spc="0" normalizeH="0" baseline="0" noProof="0" dirty="0">
              <a:ln>
                <a:noFill/>
              </a:ln>
              <a:solidFill>
                <a:srgbClr val="002060"/>
              </a:solidFill>
              <a:effectLst/>
              <a:uLnTx/>
              <a:uFillTx/>
              <a:latin typeface="Segoe Sans Display"/>
              <a:cs typeface="Segoe Sans Display"/>
            </a:endParaRPr>
          </a:p>
        </p:txBody>
      </p:sp>
      <p:pic>
        <p:nvPicPr>
          <p:cNvPr id="4" name="Picture 3" descr="A screenshot of a computer&#10;&#10;AI-generated content may be incorrect.">
            <a:extLst>
              <a:ext uri="{FF2B5EF4-FFF2-40B4-BE49-F238E27FC236}">
                <a16:creationId xmlns:a16="http://schemas.microsoft.com/office/drawing/2014/main" id="{1B80DABE-74F6-B1F6-48AC-A2E4E6179DF2}"/>
              </a:ext>
            </a:extLst>
          </p:cNvPr>
          <p:cNvPicPr>
            <a:picLocks noChangeAspect="1"/>
          </p:cNvPicPr>
          <p:nvPr/>
        </p:nvPicPr>
        <p:blipFill>
          <a:blip r:embed="rId3"/>
          <a:stretch>
            <a:fillRect/>
          </a:stretch>
        </p:blipFill>
        <p:spPr>
          <a:xfrm>
            <a:off x="4788523" y="1160952"/>
            <a:ext cx="6805561" cy="4536095"/>
          </a:xfrm>
          <a:prstGeom prst="roundRect">
            <a:avLst>
              <a:gd name="adj" fmla="val 0"/>
            </a:avLst>
          </a:prstGeom>
          <a:solidFill>
            <a:srgbClr val="FFFFFF">
              <a:shade val="85000"/>
            </a:srgbClr>
          </a:solidFill>
          <a:ln>
            <a:noFill/>
          </a:ln>
          <a:effectLst>
            <a:outerShdw blurRad="189726" dist="38100" dir="5400000" algn="t" rotWithShape="0">
              <a:prstClr val="black">
                <a:alpha val="14000"/>
              </a:prstClr>
            </a:outerShdw>
          </a:effectLst>
        </p:spPr>
      </p:pic>
    </p:spTree>
    <p:extLst>
      <p:ext uri="{BB962C8B-B14F-4D97-AF65-F5344CB8AC3E}">
        <p14:creationId xmlns:p14="http://schemas.microsoft.com/office/powerpoint/2010/main" val="402132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00"/>
                                        <p:tgtEl>
                                          <p:spTgt spid="11"/>
                                        </p:tgtEl>
                                      </p:cBhvr>
                                    </p:animEffect>
                                  </p:childTnLst>
                                </p:cTn>
                              </p:par>
                              <p:par>
                                <p:cTn id="8" presetID="42" presetClass="path" presetSubtype="0" decel="100000" fill="hold" grpId="1" nodeType="withEffect">
                                  <p:stCondLst>
                                    <p:cond delay="0"/>
                                  </p:stCondLst>
                                  <p:childTnLst>
                                    <p:animMotion origin="layout" path="M -2.08333E-6 0.03889 L -2.08333E-6 -1.11111E-6 " pathEditMode="relative" rAng="0" ptsTypes="AA">
                                      <p:cBhvr>
                                        <p:cTn id="9" dur="500" fill="hold"/>
                                        <p:tgtEl>
                                          <p:spTgt spid="11"/>
                                        </p:tgtEl>
                                        <p:attrNameLst>
                                          <p:attrName>ppt_x</p:attrName>
                                          <p:attrName>ppt_y</p:attrName>
                                        </p:attrNameLst>
                                      </p:cBhvr>
                                      <p:rCtr x="0" y="-1944"/>
                                    </p:animMotion>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200"/>
                                        <p:tgtEl>
                                          <p:spTgt spid="2"/>
                                        </p:tgtEl>
                                      </p:cBhvr>
                                    </p:animEffect>
                                  </p:childTnLst>
                                </p:cTn>
                              </p:par>
                              <p:par>
                                <p:cTn id="13" presetID="42" presetClass="path" presetSubtype="0" decel="100000" fill="hold" grpId="1" nodeType="withEffect">
                                  <p:stCondLst>
                                    <p:cond delay="0"/>
                                  </p:stCondLst>
                                  <p:childTnLst>
                                    <p:animMotion origin="layout" path="M -1.875E-6 0.03889 L -1.875E-6 1.11111E-6 " pathEditMode="relative" rAng="0" ptsTypes="AA">
                                      <p:cBhvr>
                                        <p:cTn id="14" dur="500" fill="hold"/>
                                        <p:tgtEl>
                                          <p:spTgt spid="2"/>
                                        </p:tgtEl>
                                        <p:attrNameLst>
                                          <p:attrName>ppt_x</p:attrName>
                                          <p:attrName>ppt_y</p:attrName>
                                        </p:attrNameLst>
                                      </p:cBhvr>
                                      <p:rCtr x="0" y="-1944"/>
                                    </p:animMotion>
                                  </p:childTnLst>
                                </p:cTn>
                              </p:par>
                              <p:par>
                                <p:cTn id="15" presetID="10" presetClass="entr" presetSubtype="0" fill="hold" nodeType="withEffect">
                                  <p:stCondLst>
                                    <p:cond delay="1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200"/>
                                        <p:tgtEl>
                                          <p:spTgt spid="4"/>
                                        </p:tgtEl>
                                      </p:cBhvr>
                                    </p:animEffect>
                                  </p:childTnLst>
                                </p:cTn>
                              </p:par>
                              <p:par>
                                <p:cTn id="18" presetID="42" presetClass="path" presetSubtype="0" decel="100000" fill="hold" nodeType="withEffect">
                                  <p:stCondLst>
                                    <p:cond delay="100"/>
                                  </p:stCondLst>
                                  <p:childTnLst>
                                    <p:animMotion origin="layout" path="M -4.79167E-6 0.03889 L -4.79167E-6 0 " pathEditMode="relative" rAng="0" ptsTypes="AA">
                                      <p:cBhvr>
                                        <p:cTn id="19" dur="500" fill="hold"/>
                                        <p:tgtEl>
                                          <p:spTgt spid="4"/>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2" grpId="0"/>
      <p:bldP spid="2"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4C4A542-69B3-E64C-3A50-50513C8C7DAC}"/>
              </a:ext>
            </a:extLst>
          </p:cNvPr>
          <p:cNvSpPr txBox="1"/>
          <p:nvPr/>
        </p:nvSpPr>
        <p:spPr>
          <a:xfrm>
            <a:off x="284923" y="1071640"/>
            <a:ext cx="11785158" cy="2240613"/>
          </a:xfrm>
          <a:prstGeom prst="rect">
            <a:avLst/>
          </a:prstGeom>
          <a:noFill/>
          <a:ln>
            <a:noFill/>
            <a:prstDash/>
          </a:ln>
          <a:effectLst/>
        </p:spPr>
        <p:txBody>
          <a:bodyPr wrap="square" lIns="0" rIns="0">
            <a:spAutoFit/>
          </a:bodyPr>
          <a:lstStyle/>
          <a:p>
            <a:pPr>
              <a:lnSpc>
                <a:spcPct val="80000"/>
              </a:lnSpc>
              <a:spcAft>
                <a:spcPts val="600"/>
              </a:spcAft>
            </a:pPr>
            <a:r>
              <a:rPr lang="it-it" sz="60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Customer Hub - Agenti IA</a:t>
            </a:r>
          </a:p>
          <a:p>
            <a:pPr marL="661988">
              <a:lnSpc>
                <a:spcPct val="80000"/>
              </a:lnSpc>
              <a:spcAft>
                <a:spcPts val="600"/>
              </a:spcAft>
            </a:pPr>
            <a:endParaRPr lang="en-US" sz="66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endParaRPr>
          </a:p>
          <a:p>
            <a:pPr marL="661988">
              <a:lnSpc>
                <a:spcPct val="80000"/>
              </a:lnSpc>
              <a:spcAft>
                <a:spcPts val="600"/>
              </a:spcAft>
            </a:pPr>
            <a:r>
              <a:rPr lang="it-IT" sz="36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Strategie vincenti per l’adozione degli agenti </a:t>
            </a:r>
            <a:endParaRPr lang="it-it" sz="36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endParaRPr>
          </a:p>
        </p:txBody>
      </p:sp>
    </p:spTree>
    <p:extLst>
      <p:ext uri="{BB962C8B-B14F-4D97-AF65-F5344CB8AC3E}">
        <p14:creationId xmlns:p14="http://schemas.microsoft.com/office/powerpoint/2010/main" val="229027360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C4F771-DA48-D952-7FEF-EF6FF8C5EA5E}"/>
            </a:ext>
          </a:extLst>
        </p:cNvPr>
        <p:cNvGrpSpPr/>
        <p:nvPr/>
      </p:nvGrpSpPr>
      <p:grpSpPr>
        <a:xfrm>
          <a:off x="0" y="0"/>
          <a:ext cx="0" cy="0"/>
          <a:chOff x="0" y="0"/>
          <a:chExt cx="0" cy="0"/>
        </a:xfrm>
      </p:grpSpPr>
      <p:sp>
        <p:nvSpPr>
          <p:cNvPr id="3" name="Rounded Rectangle 56">
            <a:extLst>
              <a:ext uri="{FF2B5EF4-FFF2-40B4-BE49-F238E27FC236}">
                <a16:creationId xmlns:a16="http://schemas.microsoft.com/office/drawing/2014/main" id="{726AF3CC-0162-F2A0-ADE9-9EFEE65A63D0}"/>
              </a:ext>
            </a:extLst>
          </p:cNvPr>
          <p:cNvSpPr>
            <a:spLocks/>
          </p:cNvSpPr>
          <p:nvPr/>
        </p:nvSpPr>
        <p:spPr>
          <a:xfrm>
            <a:off x="355227" y="597186"/>
            <a:ext cx="3491944" cy="5663628"/>
          </a:xfrm>
          <a:prstGeom prst="roundRect">
            <a:avLst>
              <a:gd name="adj" fmla="val 4631"/>
            </a:avLst>
          </a:prstGeom>
          <a:solidFill>
            <a:srgbClr val="FFFFFF"/>
          </a:solidFill>
          <a:ln w="9525" cap="flat" cmpd="sng" algn="ctr">
            <a:noFill/>
            <a:prstDash val="solid"/>
            <a:headEnd type="none" w="med" len="med"/>
            <a:tailEnd type="none" w="med" len="med"/>
          </a:ln>
          <a:effectLst>
            <a:outerShdw blurRad="127000" dist="38100" dir="5400000" algn="t" rotWithShape="0">
              <a:srgbClr val="FFFFFF">
                <a:lumMod val="50000"/>
                <a:alpha val="3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11" name="Title 25">
            <a:extLst>
              <a:ext uri="{FF2B5EF4-FFF2-40B4-BE49-F238E27FC236}">
                <a16:creationId xmlns:a16="http://schemas.microsoft.com/office/drawing/2014/main" id="{F6D64E13-5613-F260-51E3-B23101C1D4F6}"/>
              </a:ext>
            </a:extLst>
          </p:cNvPr>
          <p:cNvSpPr txBox="1">
            <a:spLocks/>
          </p:cNvSpPr>
          <p:nvPr/>
        </p:nvSpPr>
        <p:spPr>
          <a:xfrm>
            <a:off x="585216" y="1820268"/>
            <a:ext cx="3130257" cy="1077218"/>
          </a:xfrm>
          <a:prstGeom prst="rect">
            <a:avLst/>
          </a:prstGeom>
          <a:noFill/>
        </p:spPr>
        <p:txBody>
          <a:bodyPr vert="horz" lIns="0" tIns="45720" rIns="91440" bIns="45720" rtlCol="0" anchor="b">
            <a:spAutoFit/>
          </a:bodyPr>
          <a:lstStyle>
            <a:lvl1pPr algn="l" defTabSz="914400" rtl="0" eaLnBrk="1" latinLnBrk="0" hangingPunct="1">
              <a:lnSpc>
                <a:spcPct val="90000"/>
              </a:lnSpc>
              <a:spcBef>
                <a:spcPct val="0"/>
              </a:spcBef>
              <a:buNone/>
              <a:defRPr sz="3000" b="1" i="0" kern="1200" spc="-20" baseline="0">
                <a:solidFill>
                  <a:srgbClr val="000000"/>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200" b="0" spc="0" dirty="0">
                <a:gradFill>
                  <a:gsLst>
                    <a:gs pos="0">
                      <a:srgbClr val="FECBE6">
                        <a:lumMod val="90000"/>
                      </a:srgbClr>
                    </a:gs>
                    <a:gs pos="99000">
                      <a:srgbClr val="2764E7"/>
                    </a:gs>
                    <a:gs pos="46000">
                      <a:srgbClr val="BABAFF">
                        <a:lumMod val="90000"/>
                      </a:srgbClr>
                    </a:gs>
                  </a:gsLst>
                  <a:lin ang="13200000" scaled="0"/>
                </a:gradFill>
                <a:latin typeface="Segoe Sans Display Semibold"/>
                <a:cs typeface="Segoe UI Semibold" panose="020B0702040204020203" pitchFamily="34" charset="0"/>
              </a:rPr>
              <a:t>Gestione a </a:t>
            </a:r>
            <a:r>
              <a:rPr lang="en-US" sz="3200" b="0" spc="0" dirty="0" err="1">
                <a:gradFill>
                  <a:gsLst>
                    <a:gs pos="0">
                      <a:srgbClr val="FECBE6">
                        <a:lumMod val="90000"/>
                      </a:srgbClr>
                    </a:gs>
                    <a:gs pos="99000">
                      <a:srgbClr val="2764E7"/>
                    </a:gs>
                    <a:gs pos="46000">
                      <a:srgbClr val="BABAFF">
                        <a:lumMod val="90000"/>
                      </a:srgbClr>
                    </a:gs>
                  </a:gsLst>
                  <a:lin ang="13200000" scaled="0"/>
                </a:gradFill>
                <a:latin typeface="Segoe Sans Display Semibold"/>
                <a:cs typeface="Segoe UI Semibold" panose="020B0702040204020203" pitchFamily="34" charset="0"/>
              </a:rPr>
              <a:t>livello</a:t>
            </a:r>
            <a:r>
              <a:rPr lang="en-US" sz="3200" b="0" spc="0" dirty="0">
                <a:gradFill>
                  <a:gsLst>
                    <a:gs pos="0">
                      <a:srgbClr val="FECBE6">
                        <a:lumMod val="90000"/>
                      </a:srgbClr>
                    </a:gs>
                    <a:gs pos="99000">
                      <a:srgbClr val="2764E7"/>
                    </a:gs>
                    <a:gs pos="46000">
                      <a:srgbClr val="BABAFF">
                        <a:lumMod val="90000"/>
                      </a:srgbClr>
                    </a:gs>
                  </a:gsLst>
                  <a:lin ang="13200000" scaled="0"/>
                </a:gradFill>
                <a:latin typeface="Segoe Sans Display Semibold"/>
                <a:cs typeface="Segoe UI Semibold" panose="020B0702040204020203" pitchFamily="34" charset="0"/>
              </a:rPr>
              <a:t> tenant</a:t>
            </a:r>
            <a:endParaRPr kumimoji="0" lang="en-US" sz="3200" b="0" i="0" u="none" strike="noStrike" kern="1200" cap="none" spc="0" normalizeH="0" baseline="0" noProof="0" dirty="0">
              <a:ln>
                <a:noFill/>
              </a:ln>
              <a:gradFill>
                <a:gsLst>
                  <a:gs pos="0">
                    <a:srgbClr val="FECBE6">
                      <a:lumMod val="90000"/>
                    </a:srgbClr>
                  </a:gs>
                  <a:gs pos="99000">
                    <a:srgbClr val="2764E7"/>
                  </a:gs>
                  <a:gs pos="46000">
                    <a:srgbClr val="BABAFF">
                      <a:lumMod val="90000"/>
                    </a:srgbClr>
                  </a:gs>
                </a:gsLst>
                <a:lin ang="13200000" scaled="0"/>
              </a:gradFill>
              <a:effectLst/>
              <a:uLnTx/>
              <a:uFillTx/>
              <a:latin typeface="Segoe Sans Display Semibold"/>
              <a:ea typeface="+mj-ea"/>
              <a:cs typeface="Segoe UI Semibold" panose="020B0702040204020203" pitchFamily="34" charset="0"/>
            </a:endParaRPr>
          </a:p>
        </p:txBody>
      </p:sp>
      <p:sp>
        <p:nvSpPr>
          <p:cNvPr id="2" name="TextBox 1">
            <a:extLst>
              <a:ext uri="{FF2B5EF4-FFF2-40B4-BE49-F238E27FC236}">
                <a16:creationId xmlns:a16="http://schemas.microsoft.com/office/drawing/2014/main" id="{FA628399-9CEB-F6CE-4345-8DAFD0BB0159}"/>
              </a:ext>
            </a:extLst>
          </p:cNvPr>
          <p:cNvSpPr txBox="1"/>
          <p:nvPr/>
        </p:nvSpPr>
        <p:spPr>
          <a:xfrm>
            <a:off x="585216" y="3037250"/>
            <a:ext cx="2972372" cy="3447098"/>
          </a:xfrm>
          <a:prstGeom prst="rect">
            <a:avLst/>
          </a:prstGeom>
          <a:noFill/>
        </p:spPr>
        <p:txBody>
          <a:bodyPr wrap="square" lIns="0" tIns="0" rIns="0" bIns="0" rtlCol="0">
            <a:spAutoFit/>
          </a:bodyPr>
          <a:lstStyle/>
          <a:p>
            <a:pPr lvl="0" defTabSz="914400">
              <a:defRPr/>
            </a:pPr>
            <a:r>
              <a:rPr lang="en-US" sz="1600" dirty="0" err="1">
                <a:solidFill>
                  <a:srgbClr val="002060"/>
                </a:solidFill>
                <a:latin typeface="Segoe Sans Display"/>
                <a:cs typeface="Segoe Sans Display"/>
              </a:rPr>
              <a:t>Controlla</a:t>
            </a:r>
            <a:r>
              <a:rPr lang="en-US" sz="1600" dirty="0">
                <a:solidFill>
                  <a:srgbClr val="002060"/>
                </a:solidFill>
                <a:latin typeface="Segoe Sans Display"/>
                <a:cs typeface="Segoe Sans Display"/>
              </a:rPr>
              <a:t> la </a:t>
            </a:r>
            <a:r>
              <a:rPr lang="en-US" sz="1600" dirty="0" err="1">
                <a:solidFill>
                  <a:srgbClr val="002060"/>
                </a:solidFill>
                <a:latin typeface="Segoe Sans Display"/>
                <a:cs typeface="Segoe Sans Display"/>
              </a:rPr>
              <a:t>disponibilità</a:t>
            </a:r>
            <a:r>
              <a:rPr lang="en-US" sz="1600" dirty="0">
                <a:solidFill>
                  <a:srgbClr val="002060"/>
                </a:solidFill>
                <a:latin typeface="Segoe Sans Display"/>
                <a:cs typeface="Segoe Sans Display"/>
              </a:rPr>
              <a:t> di </a:t>
            </a:r>
            <a:r>
              <a:rPr lang="en-US" sz="1600" dirty="0" err="1">
                <a:solidFill>
                  <a:srgbClr val="002060"/>
                </a:solidFill>
                <a:latin typeface="Segoe Sans Display"/>
                <a:cs typeface="Segoe Sans Display"/>
              </a:rPr>
              <a:t>agenti</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direttamente</a:t>
            </a:r>
            <a:r>
              <a:rPr lang="en-US" sz="1600" dirty="0">
                <a:solidFill>
                  <a:srgbClr val="002060"/>
                </a:solidFill>
                <a:latin typeface="Segoe Sans Display"/>
                <a:cs typeface="Segoe Sans Display"/>
              </a:rPr>
              <a:t> a </a:t>
            </a:r>
            <a:r>
              <a:rPr lang="en-US" sz="1600" dirty="0" err="1">
                <a:solidFill>
                  <a:srgbClr val="002060"/>
                </a:solidFill>
                <a:latin typeface="Segoe Sans Display"/>
                <a:cs typeface="Segoe Sans Display"/>
              </a:rPr>
              <a:t>livello</a:t>
            </a:r>
            <a:r>
              <a:rPr lang="en-US" sz="1600" dirty="0">
                <a:solidFill>
                  <a:srgbClr val="002060"/>
                </a:solidFill>
                <a:latin typeface="Segoe Sans Display"/>
                <a:cs typeface="Segoe Sans Display"/>
              </a:rPr>
              <a:t> generale </a:t>
            </a:r>
            <a:r>
              <a:rPr lang="en-US" sz="1600" dirty="0" err="1">
                <a:solidFill>
                  <a:srgbClr val="002060"/>
                </a:solidFill>
                <a:latin typeface="Segoe Sans Display"/>
                <a:cs typeface="Segoe Sans Display"/>
              </a:rPr>
              <a:t>nella</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tua</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organizzazione</a:t>
            </a:r>
            <a:r>
              <a:rPr lang="en-US" sz="1600" dirty="0">
                <a:solidFill>
                  <a:srgbClr val="002060"/>
                </a:solidFill>
                <a:latin typeface="Segoe Sans Display"/>
                <a:cs typeface="Segoe Sans Display"/>
              </a:rPr>
              <a:t>: </a:t>
            </a:r>
            <a:br>
              <a:rPr lang="en-US" sz="1600" dirty="0">
                <a:solidFill>
                  <a:srgbClr val="002060"/>
                </a:solidFill>
                <a:latin typeface="Segoe Sans Display"/>
                <a:cs typeface="Segoe Sans Display"/>
              </a:rPr>
            </a:br>
            <a:endParaRPr lang="en-US" sz="1600" dirty="0">
              <a:solidFill>
                <a:srgbClr val="002060"/>
              </a:solidFill>
              <a:latin typeface="Segoe Sans Display"/>
              <a:cs typeface="Segoe Sans Display"/>
            </a:endParaRPr>
          </a:p>
          <a:p>
            <a:pPr lvl="0" defTabSz="914400">
              <a:defRPr/>
            </a:pPr>
            <a:r>
              <a:rPr lang="en-US" sz="1600" dirty="0">
                <a:solidFill>
                  <a:srgbClr val="002060"/>
                </a:solidFill>
                <a:latin typeface="Segoe Sans Display"/>
                <a:cs typeface="Segoe Sans Display"/>
              </a:rPr>
              <a:t>dal Microsoft 365 Admin Center </a:t>
            </a:r>
            <a:r>
              <a:rPr lang="en-US" sz="1600" dirty="0" err="1">
                <a:solidFill>
                  <a:srgbClr val="002060"/>
                </a:solidFill>
                <a:latin typeface="Segoe Sans Display"/>
                <a:cs typeface="Segoe Sans Display"/>
              </a:rPr>
              <a:t>gli</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amministratori</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possono</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avere</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pieno</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controllo</a:t>
            </a:r>
            <a:r>
              <a:rPr lang="en-US" sz="1600" dirty="0">
                <a:solidFill>
                  <a:srgbClr val="002060"/>
                </a:solidFill>
                <a:latin typeface="Segoe Sans Display"/>
                <a:cs typeface="Segoe Sans Display"/>
              </a:rPr>
              <a:t> di </a:t>
            </a:r>
            <a:r>
              <a:rPr lang="en-US" sz="1600" dirty="0" err="1">
                <a:solidFill>
                  <a:srgbClr val="002060"/>
                </a:solidFill>
                <a:latin typeface="Segoe Sans Display"/>
                <a:cs typeface="Segoe Sans Display"/>
              </a:rPr>
              <a:t>cosa</a:t>
            </a:r>
            <a:r>
              <a:rPr lang="en-US" sz="1600" dirty="0">
                <a:solidFill>
                  <a:srgbClr val="002060"/>
                </a:solidFill>
                <a:latin typeface="Segoe Sans Display"/>
                <a:cs typeface="Segoe Sans Display"/>
              </a:rPr>
              <a:t> è </a:t>
            </a:r>
            <a:r>
              <a:rPr lang="en-US" sz="1600" dirty="0" err="1">
                <a:solidFill>
                  <a:srgbClr val="002060"/>
                </a:solidFill>
                <a:latin typeface="Segoe Sans Display"/>
                <a:cs typeface="Segoe Sans Display"/>
              </a:rPr>
              <a:t>disponibile</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all’internlo</a:t>
            </a:r>
            <a:r>
              <a:rPr lang="en-US" sz="1600" dirty="0">
                <a:solidFill>
                  <a:srgbClr val="002060"/>
                </a:solidFill>
                <a:latin typeface="Segoe Sans Display"/>
                <a:cs typeface="Segoe Sans Display"/>
              </a:rPr>
              <a:t> di Copilot.</a:t>
            </a:r>
          </a:p>
          <a:p>
            <a:pPr lvl="0" defTabSz="914400">
              <a:defRPr/>
            </a:pPr>
            <a:endParaRPr lang="en-US" sz="1600" dirty="0">
              <a:solidFill>
                <a:srgbClr val="002060"/>
              </a:solidFill>
              <a:latin typeface="Segoe Sans Display"/>
              <a:cs typeface="Segoe Sans Display"/>
            </a:endParaRPr>
          </a:p>
          <a:p>
            <a:pPr lvl="0" defTabSz="914400">
              <a:defRPr/>
            </a:pPr>
            <a:r>
              <a:rPr lang="en-US" sz="1600" dirty="0">
                <a:solidFill>
                  <a:srgbClr val="002060"/>
                </a:solidFill>
                <a:latin typeface="Segoe Sans Display"/>
                <a:cs typeface="Segoe Sans Display"/>
              </a:rPr>
              <a:t>Il Teams Admin Center </a:t>
            </a:r>
            <a:r>
              <a:rPr lang="en-US" sz="1600" dirty="0" err="1">
                <a:solidFill>
                  <a:srgbClr val="002060"/>
                </a:solidFill>
                <a:latin typeface="Segoe Sans Display"/>
                <a:cs typeface="Segoe Sans Display"/>
              </a:rPr>
              <a:t>permette</a:t>
            </a:r>
            <a:r>
              <a:rPr lang="en-US" sz="1600" dirty="0">
                <a:solidFill>
                  <a:srgbClr val="002060"/>
                </a:solidFill>
                <a:latin typeface="Segoe Sans Display"/>
                <a:cs typeface="Segoe Sans Display"/>
              </a:rPr>
              <a:t> di </a:t>
            </a:r>
            <a:r>
              <a:rPr lang="en-US" sz="1600" dirty="0" err="1">
                <a:solidFill>
                  <a:srgbClr val="002060"/>
                </a:solidFill>
                <a:latin typeface="Segoe Sans Display"/>
                <a:cs typeface="Segoe Sans Display"/>
              </a:rPr>
              <a:t>controllare</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quali</a:t>
            </a:r>
            <a:r>
              <a:rPr lang="en-US" sz="1600" dirty="0">
                <a:solidFill>
                  <a:srgbClr val="002060"/>
                </a:solidFill>
                <a:latin typeface="Segoe Sans Display"/>
                <a:cs typeface="Segoe Sans Display"/>
              </a:rPr>
              <a:t> bot </a:t>
            </a:r>
            <a:r>
              <a:rPr lang="en-US" sz="1600" dirty="0" err="1">
                <a:solidFill>
                  <a:srgbClr val="002060"/>
                </a:solidFill>
                <a:latin typeface="Segoe Sans Display"/>
                <a:cs typeface="Segoe Sans Display"/>
              </a:rPr>
              <a:t>sono</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accessibili</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anche</a:t>
            </a:r>
            <a:r>
              <a:rPr lang="en-US" sz="1600" dirty="0">
                <a:solidFill>
                  <a:srgbClr val="002060"/>
                </a:solidFill>
                <a:latin typeface="Segoe Sans Display"/>
                <a:cs typeface="Segoe Sans Display"/>
              </a:rPr>
              <a:t> </a:t>
            </a:r>
            <a:r>
              <a:rPr lang="en-US" sz="1600" dirty="0" err="1">
                <a:solidFill>
                  <a:srgbClr val="002060"/>
                </a:solidFill>
                <a:latin typeface="Segoe Sans Display"/>
                <a:cs typeface="Segoe Sans Display"/>
              </a:rPr>
              <a:t>all’interno</a:t>
            </a:r>
            <a:r>
              <a:rPr lang="en-US" sz="1600" dirty="0">
                <a:solidFill>
                  <a:srgbClr val="002060"/>
                </a:solidFill>
                <a:latin typeface="Segoe Sans Display"/>
                <a:cs typeface="Segoe Sans Display"/>
              </a:rPr>
              <a:t> di Tea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2060"/>
              </a:solidFill>
              <a:effectLst/>
              <a:uLnTx/>
              <a:uFillTx/>
              <a:latin typeface="Segoe Sans Display"/>
              <a:cs typeface="Segoe Sans Display"/>
            </a:endParaRPr>
          </a:p>
        </p:txBody>
      </p:sp>
      <p:pic>
        <p:nvPicPr>
          <p:cNvPr id="6" name="Picture 5" descr="A screenshot of a white text&#10;&#10;AI-generated content may be incorrect.">
            <a:extLst>
              <a:ext uri="{FF2B5EF4-FFF2-40B4-BE49-F238E27FC236}">
                <a16:creationId xmlns:a16="http://schemas.microsoft.com/office/drawing/2014/main" id="{1B747DEB-835A-F324-A89F-854457996A76}"/>
              </a:ext>
            </a:extLst>
          </p:cNvPr>
          <p:cNvPicPr>
            <a:picLocks noChangeAspect="1"/>
          </p:cNvPicPr>
          <p:nvPr/>
        </p:nvPicPr>
        <p:blipFill>
          <a:blip r:embed="rId3"/>
          <a:stretch>
            <a:fillRect/>
          </a:stretch>
        </p:blipFill>
        <p:spPr>
          <a:xfrm>
            <a:off x="5197036" y="1271577"/>
            <a:ext cx="4754473" cy="2157423"/>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7461F04A-BECC-759B-93F8-9D302355DD72}"/>
              </a:ext>
            </a:extLst>
          </p:cNvPr>
          <p:cNvPicPr>
            <a:picLocks noChangeAspect="1"/>
          </p:cNvPicPr>
          <p:nvPr/>
        </p:nvPicPr>
        <p:blipFill>
          <a:blip r:embed="rId4"/>
          <a:stretch>
            <a:fillRect/>
          </a:stretch>
        </p:blipFill>
        <p:spPr>
          <a:xfrm>
            <a:off x="8731705" y="2423588"/>
            <a:ext cx="1935941" cy="343900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95591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00"/>
                                        <p:tgtEl>
                                          <p:spTgt spid="11"/>
                                        </p:tgtEl>
                                      </p:cBhvr>
                                    </p:animEffect>
                                  </p:childTnLst>
                                </p:cTn>
                              </p:par>
                              <p:par>
                                <p:cTn id="8" presetID="42" presetClass="path" presetSubtype="0" decel="100000" fill="hold" grpId="1" nodeType="withEffect">
                                  <p:stCondLst>
                                    <p:cond delay="0"/>
                                  </p:stCondLst>
                                  <p:childTnLst>
                                    <p:animMotion origin="layout" path="M -2.08333E-6 0.03889 L -2.08333E-6 -1.11111E-6 " pathEditMode="relative" rAng="0" ptsTypes="AA">
                                      <p:cBhvr>
                                        <p:cTn id="9" dur="500" fill="hold"/>
                                        <p:tgtEl>
                                          <p:spTgt spid="11"/>
                                        </p:tgtEl>
                                        <p:attrNameLst>
                                          <p:attrName>ppt_x</p:attrName>
                                          <p:attrName>ppt_y</p:attrName>
                                        </p:attrNameLst>
                                      </p:cBhvr>
                                      <p:rCtr x="0" y="-1944"/>
                                    </p:animMotion>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200"/>
                                        <p:tgtEl>
                                          <p:spTgt spid="2"/>
                                        </p:tgtEl>
                                      </p:cBhvr>
                                    </p:animEffect>
                                  </p:childTnLst>
                                </p:cTn>
                              </p:par>
                              <p:par>
                                <p:cTn id="13" presetID="42" presetClass="path" presetSubtype="0" decel="100000" fill="hold" grpId="1" nodeType="withEffect">
                                  <p:stCondLst>
                                    <p:cond delay="0"/>
                                  </p:stCondLst>
                                  <p:childTnLst>
                                    <p:animMotion origin="layout" path="M -1.875E-6 0.03889 L -1.875E-6 1.11111E-6 " pathEditMode="relative" rAng="0" ptsTypes="AA">
                                      <p:cBhvr>
                                        <p:cTn id="14" dur="500" fill="hold"/>
                                        <p:tgtEl>
                                          <p:spTgt spid="2"/>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2" grpId="0"/>
      <p:bldP spid="2"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D3DED-D6C2-D8E8-EB48-2FEF63BB2C24}"/>
            </a:ext>
          </a:extLst>
        </p:cNvPr>
        <p:cNvGrpSpPr/>
        <p:nvPr/>
      </p:nvGrpSpPr>
      <p:grpSpPr>
        <a:xfrm>
          <a:off x="0" y="0"/>
          <a:ext cx="0" cy="0"/>
          <a:chOff x="0" y="0"/>
          <a:chExt cx="0" cy="0"/>
        </a:xfrm>
      </p:grpSpPr>
      <p:sp>
        <p:nvSpPr>
          <p:cNvPr id="3" name="Rounded Rectangle 56">
            <a:extLst>
              <a:ext uri="{FF2B5EF4-FFF2-40B4-BE49-F238E27FC236}">
                <a16:creationId xmlns:a16="http://schemas.microsoft.com/office/drawing/2014/main" id="{01823173-F737-6285-346F-034CB6F2FFA4}"/>
              </a:ext>
            </a:extLst>
          </p:cNvPr>
          <p:cNvSpPr>
            <a:spLocks/>
          </p:cNvSpPr>
          <p:nvPr/>
        </p:nvSpPr>
        <p:spPr>
          <a:xfrm>
            <a:off x="355227" y="597186"/>
            <a:ext cx="3491944" cy="5663628"/>
          </a:xfrm>
          <a:prstGeom prst="roundRect">
            <a:avLst>
              <a:gd name="adj" fmla="val 4631"/>
            </a:avLst>
          </a:prstGeom>
          <a:solidFill>
            <a:srgbClr val="FFFFFF"/>
          </a:solidFill>
          <a:ln w="9525" cap="flat" cmpd="sng" algn="ctr">
            <a:noFill/>
            <a:prstDash val="solid"/>
            <a:headEnd type="none" w="med" len="med"/>
            <a:tailEnd type="none" w="med" len="med"/>
          </a:ln>
          <a:effectLst>
            <a:outerShdw blurRad="127000" dist="38100" dir="5400000" algn="t" rotWithShape="0">
              <a:srgbClr val="FFFFFF">
                <a:lumMod val="50000"/>
                <a:alpha val="3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4" name="Title 25">
            <a:extLst>
              <a:ext uri="{FF2B5EF4-FFF2-40B4-BE49-F238E27FC236}">
                <a16:creationId xmlns:a16="http://schemas.microsoft.com/office/drawing/2014/main" id="{9CB2E955-7026-E9F5-59D0-D2E2AC35886A}"/>
              </a:ext>
            </a:extLst>
          </p:cNvPr>
          <p:cNvSpPr txBox="1">
            <a:spLocks/>
          </p:cNvSpPr>
          <p:nvPr/>
        </p:nvSpPr>
        <p:spPr>
          <a:xfrm>
            <a:off x="585216" y="1912778"/>
            <a:ext cx="3130257" cy="1569660"/>
          </a:xfrm>
          <a:prstGeom prst="rect">
            <a:avLst/>
          </a:prstGeom>
          <a:noFill/>
        </p:spPr>
        <p:txBody>
          <a:bodyPr vert="horz" lIns="0" tIns="45720" rIns="91440" bIns="45720" rtlCol="0" anchor="b">
            <a:spAutoFit/>
          </a:bodyPr>
          <a:lstStyle>
            <a:lvl1pPr algn="l" defTabSz="914400" rtl="0" eaLnBrk="1" latinLnBrk="0" hangingPunct="1">
              <a:lnSpc>
                <a:spcPct val="90000"/>
              </a:lnSpc>
              <a:spcBef>
                <a:spcPct val="0"/>
              </a:spcBef>
              <a:buNone/>
              <a:defRPr sz="3000" b="1" i="0" kern="1200" spc="-20" baseline="0">
                <a:solidFill>
                  <a:srgbClr val="000000"/>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err="1">
                <a:ln>
                  <a:noFill/>
                </a:ln>
                <a:gradFill>
                  <a:gsLst>
                    <a:gs pos="0">
                      <a:srgbClr val="FECBE6">
                        <a:lumMod val="90000"/>
                      </a:srgbClr>
                    </a:gs>
                    <a:gs pos="99000">
                      <a:srgbClr val="2764E7"/>
                    </a:gs>
                    <a:gs pos="46000">
                      <a:srgbClr val="BABAFF">
                        <a:lumMod val="90000"/>
                      </a:srgbClr>
                    </a:gs>
                  </a:gsLst>
                  <a:lin ang="13200000" scaled="0"/>
                </a:gradFill>
                <a:effectLst/>
                <a:uLnTx/>
                <a:uFillTx/>
                <a:latin typeface="Segoe Sans Display Semibold"/>
                <a:ea typeface="+mj-ea"/>
                <a:cs typeface="Segoe UI Semibold" panose="020B0702040204020203" pitchFamily="34" charset="0"/>
              </a:rPr>
              <a:t>Misurazione</a:t>
            </a:r>
            <a:r>
              <a:rPr kumimoji="0" lang="en-US" sz="3200" b="0" i="0" u="none" strike="noStrike" kern="1200" cap="none" spc="0" normalizeH="0" baseline="0" noProof="0" dirty="0">
                <a:ln>
                  <a:noFill/>
                </a:ln>
                <a:gradFill>
                  <a:gsLst>
                    <a:gs pos="0">
                      <a:srgbClr val="FECBE6">
                        <a:lumMod val="90000"/>
                      </a:srgbClr>
                    </a:gs>
                    <a:gs pos="99000">
                      <a:srgbClr val="2764E7"/>
                    </a:gs>
                    <a:gs pos="46000">
                      <a:srgbClr val="BABAFF">
                        <a:lumMod val="90000"/>
                      </a:srgbClr>
                    </a:gs>
                  </a:gsLst>
                  <a:lin ang="13200000" scaled="0"/>
                </a:gradFill>
                <a:effectLst/>
                <a:uLnTx/>
                <a:uFillTx/>
                <a:latin typeface="Segoe Sans Display Semibold"/>
                <a:ea typeface="+mj-ea"/>
                <a:cs typeface="Segoe UI Semibold" panose="020B0702040204020203" pitchFamily="34" charset="0"/>
              </a:rPr>
              <a:t> </a:t>
            </a:r>
            <a:r>
              <a:rPr kumimoji="0" lang="en-US" sz="3200" b="0" i="0" u="none" strike="noStrike" kern="1200" cap="none" spc="0" normalizeH="0" baseline="0" noProof="0" dirty="0" err="1">
                <a:ln>
                  <a:noFill/>
                </a:ln>
                <a:gradFill>
                  <a:gsLst>
                    <a:gs pos="0">
                      <a:srgbClr val="FECBE6">
                        <a:lumMod val="90000"/>
                      </a:srgbClr>
                    </a:gs>
                    <a:gs pos="99000">
                      <a:srgbClr val="2764E7"/>
                    </a:gs>
                    <a:gs pos="46000">
                      <a:srgbClr val="BABAFF">
                        <a:lumMod val="90000"/>
                      </a:srgbClr>
                    </a:gs>
                  </a:gsLst>
                  <a:lin ang="13200000" scaled="0"/>
                </a:gradFill>
                <a:effectLst/>
                <a:uLnTx/>
                <a:uFillTx/>
                <a:latin typeface="Segoe Sans Display Semibold"/>
                <a:ea typeface="+mj-ea"/>
                <a:cs typeface="Segoe UI Semibold" panose="020B0702040204020203" pitchFamily="34" charset="0"/>
              </a:rPr>
              <a:t>chiara</a:t>
            </a:r>
            <a:r>
              <a:rPr kumimoji="0" lang="en-US" sz="3200" b="0" i="0" u="none" strike="noStrike" kern="1200" cap="none" spc="0" normalizeH="0" baseline="0" noProof="0" dirty="0">
                <a:ln>
                  <a:noFill/>
                </a:ln>
                <a:gradFill>
                  <a:gsLst>
                    <a:gs pos="0">
                      <a:srgbClr val="FECBE6">
                        <a:lumMod val="90000"/>
                      </a:srgbClr>
                    </a:gs>
                    <a:gs pos="99000">
                      <a:srgbClr val="2764E7"/>
                    </a:gs>
                    <a:gs pos="46000">
                      <a:srgbClr val="BABAFF">
                        <a:lumMod val="90000"/>
                      </a:srgbClr>
                    </a:gs>
                  </a:gsLst>
                  <a:lin ang="13200000" scaled="0"/>
                </a:gradFill>
                <a:effectLst/>
                <a:uLnTx/>
                <a:uFillTx/>
                <a:latin typeface="Segoe Sans Display Semibold"/>
                <a:ea typeface="+mj-ea"/>
                <a:cs typeface="Segoe UI Semibold" panose="020B0702040204020203" pitchFamily="34" charset="0"/>
              </a:rPr>
              <a:t> delle performance</a:t>
            </a:r>
          </a:p>
        </p:txBody>
      </p:sp>
      <p:sp>
        <p:nvSpPr>
          <p:cNvPr id="7" name="TextBox 6">
            <a:extLst>
              <a:ext uri="{FF2B5EF4-FFF2-40B4-BE49-F238E27FC236}">
                <a16:creationId xmlns:a16="http://schemas.microsoft.com/office/drawing/2014/main" id="{BC3F506E-5308-F6B0-CEF0-2D2A746DB9E5}"/>
              </a:ext>
            </a:extLst>
          </p:cNvPr>
          <p:cNvSpPr txBox="1"/>
          <p:nvPr/>
        </p:nvSpPr>
        <p:spPr>
          <a:xfrm>
            <a:off x="585216" y="3622202"/>
            <a:ext cx="2972372" cy="166199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Segoe Sans Display"/>
                <a:ea typeface="+mn-ea"/>
                <a:cs typeface="Segoe Sans Display"/>
              </a:rPr>
              <a:t>Dashboard </a:t>
            </a:r>
            <a:r>
              <a:rPr kumimoji="0" lang="en-US" sz="1800" b="0" i="0" u="none" strike="noStrike" kern="1200" cap="none" spc="0" normalizeH="0" baseline="0" noProof="0" dirty="0" err="1">
                <a:ln>
                  <a:noFill/>
                </a:ln>
                <a:solidFill>
                  <a:srgbClr val="002060"/>
                </a:solidFill>
                <a:effectLst/>
                <a:uLnTx/>
                <a:uFillTx/>
                <a:latin typeface="Segoe Sans Display"/>
                <a:ea typeface="+mn-ea"/>
                <a:cs typeface="Segoe Sans Display"/>
              </a:rPr>
              <a:t>specifiche</a:t>
            </a:r>
            <a:r>
              <a:rPr kumimoji="0" lang="en-US" sz="1800" b="0" i="0" u="none" strike="noStrike" kern="1200" cap="none" spc="0" normalizeH="0" noProof="0" dirty="0">
                <a:ln>
                  <a:noFill/>
                </a:ln>
                <a:solidFill>
                  <a:srgbClr val="002060"/>
                </a:solidFill>
                <a:effectLst/>
                <a:uLnTx/>
                <a:uFillTx/>
                <a:latin typeface="Segoe Sans Display"/>
                <a:ea typeface="+mn-ea"/>
                <a:cs typeface="Segoe Sans Display"/>
              </a:rPr>
              <a:t> ci </a:t>
            </a:r>
            <a:r>
              <a:rPr kumimoji="0" lang="en-US" sz="1800" b="0" i="0" u="none" strike="noStrike" kern="1200" cap="none" spc="0" normalizeH="0" noProof="0" dirty="0" err="1">
                <a:ln>
                  <a:noFill/>
                </a:ln>
                <a:solidFill>
                  <a:srgbClr val="002060"/>
                </a:solidFill>
                <a:effectLst/>
                <a:uLnTx/>
                <a:uFillTx/>
                <a:latin typeface="Segoe Sans Display"/>
                <a:ea typeface="+mn-ea"/>
                <a:cs typeface="Segoe Sans Display"/>
              </a:rPr>
              <a:t>consentono</a:t>
            </a:r>
            <a:r>
              <a:rPr kumimoji="0" lang="en-US" sz="1800" b="0" i="0" u="none" strike="noStrike" kern="1200" cap="none" spc="0" normalizeH="0" noProof="0" dirty="0">
                <a:ln>
                  <a:noFill/>
                </a:ln>
                <a:solidFill>
                  <a:srgbClr val="002060"/>
                </a:solidFill>
                <a:effectLst/>
                <a:uLnTx/>
                <a:uFillTx/>
                <a:latin typeface="Segoe Sans Display"/>
                <a:ea typeface="+mn-ea"/>
                <a:cs typeface="Segoe Sans Display"/>
              </a:rPr>
              <a:t> di </a:t>
            </a:r>
            <a:r>
              <a:rPr kumimoji="0" lang="en-US" sz="1800" b="0" i="0" u="none" strike="noStrike" kern="1200" cap="none" spc="0" normalizeH="0" noProof="0" dirty="0" err="1">
                <a:ln>
                  <a:noFill/>
                </a:ln>
                <a:solidFill>
                  <a:srgbClr val="002060"/>
                </a:solidFill>
                <a:effectLst/>
                <a:uLnTx/>
                <a:uFillTx/>
                <a:latin typeface="Segoe Sans Display"/>
                <a:ea typeface="+mn-ea"/>
                <a:cs typeface="Segoe Sans Display"/>
              </a:rPr>
              <a:t>controllare</a:t>
            </a:r>
            <a:r>
              <a:rPr kumimoji="0" lang="en-US" sz="1800" b="0" i="0" u="none" strike="noStrike" kern="1200" cap="none" spc="0" normalizeH="0" noProof="0" dirty="0">
                <a:ln>
                  <a:noFill/>
                </a:ln>
                <a:solidFill>
                  <a:srgbClr val="002060"/>
                </a:solidFill>
                <a:effectLst/>
                <a:uLnTx/>
                <a:uFillTx/>
                <a:latin typeface="Segoe Sans Display"/>
                <a:ea typeface="+mn-ea"/>
                <a:cs typeface="Segoe Sans Display"/>
              </a:rPr>
              <a:t> </a:t>
            </a:r>
            <a:r>
              <a:rPr kumimoji="0" lang="en-US" sz="1800" b="0" i="0" u="none" strike="noStrike" kern="1200" cap="none" spc="0" normalizeH="0" noProof="0" dirty="0" err="1">
                <a:ln>
                  <a:noFill/>
                </a:ln>
                <a:solidFill>
                  <a:srgbClr val="002060"/>
                </a:solidFill>
                <a:effectLst/>
                <a:uLnTx/>
                <a:uFillTx/>
                <a:latin typeface="Segoe Sans Display"/>
                <a:ea typeface="+mn-ea"/>
                <a:cs typeface="Segoe Sans Display"/>
              </a:rPr>
              <a:t>l’adozione</a:t>
            </a:r>
            <a:r>
              <a:rPr kumimoji="0" lang="en-US" sz="1800" b="0" i="0" u="none" strike="noStrike" kern="1200" cap="none" spc="0" normalizeH="0" noProof="0" dirty="0">
                <a:ln>
                  <a:noFill/>
                </a:ln>
                <a:solidFill>
                  <a:srgbClr val="002060"/>
                </a:solidFill>
                <a:effectLst/>
                <a:uLnTx/>
                <a:uFillTx/>
                <a:latin typeface="Segoe Sans Display"/>
                <a:ea typeface="+mn-ea"/>
                <a:cs typeface="Segoe Sans Display"/>
              </a:rPr>
              <a:t> e </a:t>
            </a:r>
            <a:r>
              <a:rPr kumimoji="0" lang="en-US" sz="1800" b="0" i="0" u="none" strike="noStrike" kern="1200" cap="none" spc="0" normalizeH="0" noProof="0" dirty="0" err="1">
                <a:ln>
                  <a:noFill/>
                </a:ln>
                <a:solidFill>
                  <a:srgbClr val="002060"/>
                </a:solidFill>
                <a:effectLst/>
                <a:uLnTx/>
                <a:uFillTx/>
                <a:latin typeface="Segoe Sans Display"/>
                <a:ea typeface="+mn-ea"/>
                <a:cs typeface="Segoe Sans Display"/>
              </a:rPr>
              <a:t>l’efficacia</a:t>
            </a:r>
            <a:r>
              <a:rPr kumimoji="0" lang="en-US" sz="1800" b="0" i="0" u="none" strike="noStrike" kern="1200" cap="none" spc="0" normalizeH="0" noProof="0" dirty="0">
                <a:ln>
                  <a:noFill/>
                </a:ln>
                <a:solidFill>
                  <a:srgbClr val="002060"/>
                </a:solidFill>
                <a:effectLst/>
                <a:uLnTx/>
                <a:uFillTx/>
                <a:latin typeface="Segoe Sans Display"/>
                <a:ea typeface="+mn-ea"/>
                <a:cs typeface="Segoe Sans Display"/>
              </a:rPr>
              <a:t> </a:t>
            </a:r>
            <a:r>
              <a:rPr kumimoji="0" lang="en-US" sz="1800" b="0" i="0" u="none" strike="noStrike" kern="1200" cap="none" spc="0" normalizeH="0" noProof="0" dirty="0" err="1">
                <a:ln>
                  <a:noFill/>
                </a:ln>
                <a:solidFill>
                  <a:srgbClr val="002060"/>
                </a:solidFill>
                <a:effectLst/>
                <a:uLnTx/>
                <a:uFillTx/>
                <a:latin typeface="Segoe Sans Display"/>
                <a:ea typeface="+mn-ea"/>
                <a:cs typeface="Segoe Sans Display"/>
              </a:rPr>
              <a:t>dei</a:t>
            </a:r>
            <a:r>
              <a:rPr kumimoji="0" lang="en-US" sz="1800" b="0" i="0" u="none" strike="noStrike" kern="1200" cap="none" spc="0" normalizeH="0" noProof="0" dirty="0">
                <a:ln>
                  <a:noFill/>
                </a:ln>
                <a:solidFill>
                  <a:srgbClr val="002060"/>
                </a:solidFill>
                <a:effectLst/>
                <a:uLnTx/>
                <a:uFillTx/>
                <a:latin typeface="Segoe Sans Display"/>
                <a:ea typeface="+mn-ea"/>
                <a:cs typeface="Segoe Sans Display"/>
              </a:rPr>
              <a:t> </a:t>
            </a:r>
            <a:r>
              <a:rPr kumimoji="0" lang="en-US" sz="1800" b="0" i="0" u="none" strike="noStrike" kern="1200" cap="none" spc="0" normalizeH="0" noProof="0" dirty="0" err="1">
                <a:ln>
                  <a:noFill/>
                </a:ln>
                <a:solidFill>
                  <a:srgbClr val="002060"/>
                </a:solidFill>
                <a:effectLst/>
                <a:uLnTx/>
                <a:uFillTx/>
                <a:latin typeface="Segoe Sans Display"/>
                <a:ea typeface="+mn-ea"/>
                <a:cs typeface="Segoe Sans Display"/>
              </a:rPr>
              <a:t>nostri</a:t>
            </a:r>
            <a:r>
              <a:rPr kumimoji="0" lang="en-US" sz="1800" b="0" i="0" u="none" strike="noStrike" kern="1200" cap="none" spc="0" normalizeH="0" noProof="0" dirty="0">
                <a:ln>
                  <a:noFill/>
                </a:ln>
                <a:solidFill>
                  <a:srgbClr val="002060"/>
                </a:solidFill>
                <a:effectLst/>
                <a:uLnTx/>
                <a:uFillTx/>
                <a:latin typeface="Segoe Sans Display"/>
                <a:ea typeface="+mn-ea"/>
                <a:cs typeface="Segoe Sans Display"/>
              </a:rPr>
              <a:t> </a:t>
            </a:r>
            <a:r>
              <a:rPr kumimoji="0" lang="en-US" sz="1800" b="0" i="0" u="none" strike="noStrike" kern="1200" cap="none" spc="0" normalizeH="0" noProof="0" dirty="0" err="1">
                <a:ln>
                  <a:noFill/>
                </a:ln>
                <a:solidFill>
                  <a:srgbClr val="002060"/>
                </a:solidFill>
                <a:effectLst/>
                <a:uLnTx/>
                <a:uFillTx/>
                <a:latin typeface="Segoe Sans Display"/>
                <a:ea typeface="+mn-ea"/>
                <a:cs typeface="Segoe Sans Display"/>
              </a:rPr>
              <a:t>agenti</a:t>
            </a:r>
            <a:r>
              <a:rPr kumimoji="0" lang="en-US" sz="1800" b="0" i="0" u="none" strike="noStrike" kern="1200" cap="none" spc="0" normalizeH="0" noProof="0" dirty="0">
                <a:ln>
                  <a:noFill/>
                </a:ln>
                <a:solidFill>
                  <a:srgbClr val="002060"/>
                </a:solidFill>
                <a:effectLst/>
                <a:uLnTx/>
                <a:uFillTx/>
                <a:latin typeface="Segoe Sans Display"/>
                <a:ea typeface="+mn-ea"/>
                <a:cs typeface="Segoe Sans Display"/>
              </a:rPr>
              <a:t>, </a:t>
            </a:r>
            <a:r>
              <a:rPr kumimoji="0" lang="en-US" sz="1800" b="0" i="0" u="none" strike="noStrike" kern="1200" cap="none" spc="0" normalizeH="0" baseline="0" noProof="0" dirty="0">
                <a:ln>
                  <a:noFill/>
                </a:ln>
                <a:solidFill>
                  <a:srgbClr val="002060"/>
                </a:solidFill>
                <a:effectLst/>
                <a:uLnTx/>
                <a:uFillTx/>
                <a:latin typeface="Segoe Sans Display"/>
                <a:ea typeface="+mn-ea"/>
                <a:cs typeface="Segoe Sans Display"/>
              </a:rPr>
              <a:t>e </a:t>
            </a:r>
            <a:r>
              <a:rPr kumimoji="0" lang="en-US" sz="1800" b="0" i="0" u="none" strike="noStrike" kern="1200" cap="none" spc="0" normalizeH="0" baseline="0" noProof="0" dirty="0" err="1">
                <a:ln>
                  <a:noFill/>
                </a:ln>
                <a:solidFill>
                  <a:srgbClr val="002060"/>
                </a:solidFill>
                <a:effectLst/>
                <a:uLnTx/>
                <a:uFillTx/>
                <a:latin typeface="Segoe Sans Display"/>
                <a:ea typeface="+mn-ea"/>
                <a:cs typeface="Segoe Sans Display"/>
              </a:rPr>
              <a:t>stimare</a:t>
            </a:r>
            <a:r>
              <a:rPr kumimoji="0" lang="en-US" sz="1800" b="0" i="0" u="none" strike="noStrike" kern="1200" cap="none" spc="0" normalizeH="0" baseline="0" noProof="0" dirty="0">
                <a:ln>
                  <a:noFill/>
                </a:ln>
                <a:solidFill>
                  <a:srgbClr val="002060"/>
                </a:solidFill>
                <a:effectLst/>
                <a:uLnTx/>
                <a:uFillTx/>
                <a:latin typeface="Segoe Sans Display"/>
                <a:ea typeface="+mn-ea"/>
                <a:cs typeface="Segoe Sans Display"/>
              </a:rPr>
              <a:t> </a:t>
            </a:r>
            <a:r>
              <a:rPr kumimoji="0" lang="en-US" sz="1800" b="0" i="0" u="none" strike="noStrike" kern="1200" cap="none" spc="0" normalizeH="0" baseline="0" noProof="0" dirty="0" err="1">
                <a:ln>
                  <a:noFill/>
                </a:ln>
                <a:solidFill>
                  <a:srgbClr val="002060"/>
                </a:solidFill>
                <a:effectLst/>
                <a:uLnTx/>
                <a:uFillTx/>
                <a:latin typeface="Segoe Sans Display"/>
                <a:ea typeface="+mn-ea"/>
                <a:cs typeface="Segoe Sans Display"/>
              </a:rPr>
              <a:t>quello</a:t>
            </a:r>
            <a:r>
              <a:rPr kumimoji="0" lang="en-US" sz="1800" b="0" i="0" u="none" strike="noStrike" kern="1200" cap="none" spc="0" normalizeH="0" baseline="0" noProof="0" dirty="0">
                <a:ln>
                  <a:noFill/>
                </a:ln>
                <a:solidFill>
                  <a:srgbClr val="002060"/>
                </a:solidFill>
                <a:effectLst/>
                <a:uLnTx/>
                <a:uFillTx/>
                <a:latin typeface="Segoe Sans Display"/>
                <a:ea typeface="+mn-ea"/>
                <a:cs typeface="Segoe Sans Display"/>
              </a:rPr>
              <a:t> </a:t>
            </a:r>
            <a:r>
              <a:rPr kumimoji="0" lang="en-US" sz="1800" b="0" i="0" u="none" strike="noStrike" kern="1200" cap="none" spc="0" normalizeH="0" baseline="0" noProof="0" dirty="0" err="1">
                <a:ln>
                  <a:noFill/>
                </a:ln>
                <a:solidFill>
                  <a:srgbClr val="002060"/>
                </a:solidFill>
                <a:effectLst/>
                <a:uLnTx/>
                <a:uFillTx/>
                <a:latin typeface="Segoe Sans Display"/>
                <a:ea typeface="+mn-ea"/>
                <a:cs typeface="Segoe Sans Display"/>
              </a:rPr>
              <a:t>che</a:t>
            </a:r>
            <a:r>
              <a:rPr kumimoji="0" lang="en-US" sz="1800" b="0" i="0" u="none" strike="noStrike" kern="1200" cap="none" spc="0" normalizeH="0" baseline="0" noProof="0" dirty="0">
                <a:ln>
                  <a:noFill/>
                </a:ln>
                <a:solidFill>
                  <a:srgbClr val="002060"/>
                </a:solidFill>
                <a:effectLst/>
                <a:uLnTx/>
                <a:uFillTx/>
                <a:latin typeface="Segoe Sans Display"/>
                <a:ea typeface="+mn-ea"/>
                <a:cs typeface="Segoe Sans Display"/>
              </a:rPr>
              <a:t> è </a:t>
            </a:r>
            <a:r>
              <a:rPr kumimoji="0" lang="en-US" sz="1800" b="0" i="0" u="none" strike="noStrike" kern="1200" cap="none" spc="0" normalizeH="0" baseline="0" noProof="0" dirty="0" err="1">
                <a:ln>
                  <a:noFill/>
                </a:ln>
                <a:solidFill>
                  <a:srgbClr val="002060"/>
                </a:solidFill>
                <a:effectLst/>
                <a:uLnTx/>
                <a:uFillTx/>
                <a:latin typeface="Segoe Sans Display"/>
                <a:ea typeface="+mn-ea"/>
                <a:cs typeface="Segoe Sans Display"/>
              </a:rPr>
              <a:t>l’impatto</a:t>
            </a:r>
            <a:r>
              <a:rPr kumimoji="0" lang="en-US" sz="1800" b="0" i="0" u="none" strike="noStrike" kern="1200" cap="none" spc="0" normalizeH="0" baseline="0" noProof="0" dirty="0">
                <a:ln>
                  <a:noFill/>
                </a:ln>
                <a:solidFill>
                  <a:srgbClr val="002060"/>
                </a:solidFill>
                <a:effectLst/>
                <a:uLnTx/>
                <a:uFillTx/>
                <a:latin typeface="Segoe Sans Display"/>
                <a:ea typeface="+mn-ea"/>
                <a:cs typeface="Segoe Sans Display"/>
              </a:rPr>
              <a:t> </a:t>
            </a:r>
            <a:r>
              <a:rPr kumimoji="0" lang="en-US" sz="1800" b="0" i="0" u="none" strike="noStrike" kern="1200" cap="none" spc="0" normalizeH="0" baseline="0" noProof="0" dirty="0" err="1">
                <a:ln>
                  <a:noFill/>
                </a:ln>
                <a:solidFill>
                  <a:srgbClr val="002060"/>
                </a:solidFill>
                <a:effectLst/>
                <a:uLnTx/>
                <a:uFillTx/>
                <a:latin typeface="Segoe Sans Display"/>
                <a:ea typeface="+mn-ea"/>
                <a:cs typeface="Segoe Sans Display"/>
              </a:rPr>
              <a:t>sul</a:t>
            </a:r>
            <a:r>
              <a:rPr kumimoji="0" lang="en-US" sz="1800" b="0" i="0" u="none" strike="noStrike" kern="1200" cap="none" spc="0" normalizeH="0" baseline="0" noProof="0" dirty="0">
                <a:ln>
                  <a:noFill/>
                </a:ln>
                <a:solidFill>
                  <a:srgbClr val="002060"/>
                </a:solidFill>
                <a:effectLst/>
                <a:uLnTx/>
                <a:uFillTx/>
                <a:latin typeface="Segoe Sans Display"/>
                <a:ea typeface="+mn-ea"/>
                <a:cs typeface="Segoe Sans Display"/>
              </a:rPr>
              <a:t> business della loro </a:t>
            </a:r>
            <a:r>
              <a:rPr kumimoji="0" lang="en-US" sz="1800" b="0" i="0" u="none" strike="noStrike" kern="1200" cap="none" spc="0" normalizeH="0" baseline="0" noProof="0" dirty="0" err="1">
                <a:ln>
                  <a:noFill/>
                </a:ln>
                <a:solidFill>
                  <a:srgbClr val="002060"/>
                </a:solidFill>
                <a:effectLst/>
                <a:uLnTx/>
                <a:uFillTx/>
                <a:latin typeface="Segoe Sans Display"/>
                <a:ea typeface="+mn-ea"/>
                <a:cs typeface="Segoe Sans Display"/>
              </a:rPr>
              <a:t>adozione</a:t>
            </a:r>
            <a:r>
              <a:rPr kumimoji="0" lang="en-US" sz="1800" b="0" i="0" u="none" strike="noStrike" kern="1200" cap="none" spc="0" normalizeH="0" baseline="0" noProof="0" dirty="0">
                <a:ln>
                  <a:noFill/>
                </a:ln>
                <a:solidFill>
                  <a:srgbClr val="002060"/>
                </a:solidFill>
                <a:effectLst/>
                <a:uLnTx/>
                <a:uFillTx/>
                <a:latin typeface="Segoe Sans Display"/>
                <a:ea typeface="+mn-ea"/>
                <a:cs typeface="Segoe Sans Display"/>
              </a:rPr>
              <a:t>. </a:t>
            </a:r>
          </a:p>
        </p:txBody>
      </p:sp>
      <p:sp>
        <p:nvSpPr>
          <p:cNvPr id="16" name="Rectangle: Rounded Corners 15">
            <a:extLst>
              <a:ext uri="{FF2B5EF4-FFF2-40B4-BE49-F238E27FC236}">
                <a16:creationId xmlns:a16="http://schemas.microsoft.com/office/drawing/2014/main" id="{3079F491-D257-9D0E-2D4D-ACB09C144A3E}"/>
              </a:ext>
              <a:ext uri="{C183D7F6-B498-43B3-948B-1728B52AA6E4}">
                <adec:decorative xmlns:adec="http://schemas.microsoft.com/office/drawing/2017/decorative" val="1"/>
              </a:ext>
            </a:extLst>
          </p:cNvPr>
          <p:cNvSpPr>
            <a:spLocks/>
          </p:cNvSpPr>
          <p:nvPr/>
        </p:nvSpPr>
        <p:spPr bwMode="auto">
          <a:xfrm>
            <a:off x="4675633" y="1076386"/>
            <a:ext cx="6832836" cy="4729379"/>
          </a:xfrm>
          <a:prstGeom prst="roundRect">
            <a:avLst>
              <a:gd name="adj" fmla="val 2232"/>
            </a:avLst>
          </a:prstGeom>
          <a:solidFill>
            <a:srgbClr val="EFEF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17" name="Picture 16" descr="A screenshot of a computer&#10;&#10;AI-generated content may be incorrect.">
            <a:extLst>
              <a:ext uri="{FF2B5EF4-FFF2-40B4-BE49-F238E27FC236}">
                <a16:creationId xmlns:a16="http://schemas.microsoft.com/office/drawing/2014/main" id="{AA92B3C9-1388-9F92-565A-305A9B63AFCC}"/>
              </a:ext>
            </a:extLst>
          </p:cNvPr>
          <p:cNvPicPr>
            <a:picLocks noChangeAspect="1"/>
          </p:cNvPicPr>
          <p:nvPr/>
        </p:nvPicPr>
        <p:blipFill>
          <a:blip r:embed="rId3">
            <a:extLst>
              <a:ext uri="{28A0092B-C50C-407E-A947-70E740481C1C}">
                <a14:useLocalDpi xmlns:a14="http://schemas.microsoft.com/office/drawing/2010/main" val="0"/>
              </a:ext>
            </a:extLst>
          </a:blip>
          <a:srcRect r="246"/>
          <a:stretch>
            <a:fillRect/>
          </a:stretch>
        </p:blipFill>
        <p:spPr>
          <a:xfrm>
            <a:off x="4772984" y="1227564"/>
            <a:ext cx="6638135" cy="4427023"/>
          </a:xfrm>
          <a:prstGeom prst="rect">
            <a:avLst/>
          </a:prstGeom>
        </p:spPr>
      </p:pic>
      <p:sp>
        <p:nvSpPr>
          <p:cNvPr id="5" name="Title 25">
            <a:extLst>
              <a:ext uri="{FF2B5EF4-FFF2-40B4-BE49-F238E27FC236}">
                <a16:creationId xmlns:a16="http://schemas.microsoft.com/office/drawing/2014/main" id="{A3657BF2-BAF4-2EC4-7BBB-8D076F3D3A82}"/>
              </a:ext>
            </a:extLst>
          </p:cNvPr>
          <p:cNvSpPr txBox="1">
            <a:spLocks/>
          </p:cNvSpPr>
          <p:nvPr/>
        </p:nvSpPr>
        <p:spPr>
          <a:xfrm>
            <a:off x="585216" y="1662959"/>
            <a:ext cx="2858107" cy="294420"/>
          </a:xfrm>
          <a:prstGeom prst="rect">
            <a:avLst/>
          </a:prstGeom>
          <a:noFill/>
        </p:spPr>
        <p:txBody>
          <a:bodyPr vert="horz" lIns="0" tIns="45720" rIns="91440" bIns="45720" rtlCol="0" anchor="ctr">
            <a:noAutofit/>
          </a:bodyPr>
          <a:lstStyle>
            <a:defPPr>
              <a:defRPr lang="en-US"/>
            </a:defPPr>
            <a:lvl1pPr lvl="0">
              <a:lnSpc>
                <a:spcPct val="100000"/>
              </a:lnSpc>
              <a:spcBef>
                <a:spcPct val="0"/>
              </a:spcBef>
              <a:buNone/>
              <a:defRPr sz="1200" b="0" i="0" spc="150" baseline="0">
                <a:solidFill>
                  <a:schemeClr val="bg1">
                    <a:lumMod val="50000"/>
                  </a:schemeClr>
                </a:solidFill>
                <a:ea typeface="+mj-ea"/>
                <a:cs typeface="Segoe Sans Display Semibold"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150" normalizeH="0" baseline="0" noProof="0" dirty="0">
                <a:ln>
                  <a:noFill/>
                </a:ln>
                <a:solidFill>
                  <a:srgbClr val="FFFFFF">
                    <a:lumMod val="50000"/>
                  </a:srgbClr>
                </a:solidFill>
                <a:effectLst/>
                <a:uLnTx/>
                <a:uFillTx/>
                <a:latin typeface="Segoe Sans Display"/>
                <a:ea typeface="+mj-ea"/>
                <a:cs typeface="Segoe Sans Display Semibold" pitchFamily="2" charset="0"/>
              </a:rPr>
              <a:t>METRICHE</a:t>
            </a:r>
          </a:p>
        </p:txBody>
      </p:sp>
    </p:spTree>
    <p:extLst>
      <p:ext uri="{BB962C8B-B14F-4D97-AF65-F5344CB8AC3E}">
        <p14:creationId xmlns:p14="http://schemas.microsoft.com/office/powerpoint/2010/main" val="375697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42" presetClass="path" presetSubtype="0" decel="100000" fill="hold" grpId="1" nodeType="withEffect">
                                  <p:stCondLst>
                                    <p:cond delay="0"/>
                                  </p:stCondLst>
                                  <p:childTnLst>
                                    <p:animMotion origin="layout" path="M -2.08333E-6 0.03889 L -2.08333E-6 3.33333E-6 " pathEditMode="relative" rAng="0" ptsTypes="AA">
                                      <p:cBhvr>
                                        <p:cTn id="9" dur="500" fill="hold"/>
                                        <p:tgtEl>
                                          <p:spTgt spid="4"/>
                                        </p:tgtEl>
                                        <p:attrNameLst>
                                          <p:attrName>ppt_x</p:attrName>
                                          <p:attrName>ppt_y</p:attrName>
                                        </p:attrNameLst>
                                      </p:cBhvr>
                                      <p:rCtr x="0" y="-1944"/>
                                    </p:animMotion>
                                  </p:childTnLst>
                                </p:cTn>
                              </p:par>
                              <p:par>
                                <p:cTn id="10" presetID="10"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200"/>
                                        <p:tgtEl>
                                          <p:spTgt spid="7"/>
                                        </p:tgtEl>
                                      </p:cBhvr>
                                    </p:animEffect>
                                  </p:childTnLst>
                                </p:cTn>
                              </p:par>
                              <p:par>
                                <p:cTn id="13" presetID="42" presetClass="path" presetSubtype="0" decel="100000" fill="hold" grpId="1" nodeType="withEffect">
                                  <p:stCondLst>
                                    <p:cond delay="0"/>
                                  </p:stCondLst>
                                  <p:childTnLst>
                                    <p:animMotion origin="layout" path="M -1.875E-6 0.03889 L -1.875E-6 2.22222E-6 " pathEditMode="relative" rAng="0" ptsTypes="AA">
                                      <p:cBhvr>
                                        <p:cTn id="14" dur="500" fill="hold"/>
                                        <p:tgtEl>
                                          <p:spTgt spid="7"/>
                                        </p:tgtEl>
                                        <p:attrNameLst>
                                          <p:attrName>ppt_x</p:attrName>
                                          <p:attrName>ppt_y</p:attrName>
                                        </p:attrNameLst>
                                      </p:cBhvr>
                                      <p:rCtr x="0" y="-1944"/>
                                    </p:animMotion>
                                  </p:childTnLst>
                                </p:cTn>
                              </p:par>
                              <p:par>
                                <p:cTn id="15" presetID="10" presetClass="entr" presetSubtype="0" fill="hold" nodeType="withEffect">
                                  <p:stCondLst>
                                    <p:cond delay="10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200"/>
                                        <p:tgtEl>
                                          <p:spTgt spid="17"/>
                                        </p:tgtEl>
                                      </p:cBhvr>
                                    </p:animEffect>
                                  </p:childTnLst>
                                </p:cTn>
                              </p:par>
                              <p:par>
                                <p:cTn id="18" presetID="42" presetClass="path" presetSubtype="0" decel="100000" fill="hold" nodeType="withEffect">
                                  <p:stCondLst>
                                    <p:cond delay="100"/>
                                  </p:stCondLst>
                                  <p:childTnLst>
                                    <p:animMotion origin="layout" path="M 0 0.03889 L 0 -2.96296E-6 " pathEditMode="relative" rAng="0" ptsTypes="AA">
                                      <p:cBhvr>
                                        <p:cTn id="19" dur="500" fill="hold"/>
                                        <p:tgtEl>
                                          <p:spTgt spid="17"/>
                                        </p:tgtEl>
                                        <p:attrNameLst>
                                          <p:attrName>ppt_x</p:attrName>
                                          <p:attrName>ppt_y</p:attrName>
                                        </p:attrNameLst>
                                      </p:cBhvr>
                                      <p:rCtr x="0" y="-1944"/>
                                    </p:animMotion>
                                  </p:childTnLst>
                                </p:cTn>
                              </p:par>
                              <p:par>
                                <p:cTn id="20" presetID="10" presetClass="entr" presetSubtype="0" fill="hold" grpId="0" nodeType="withEffect">
                                  <p:stCondLst>
                                    <p:cond delay="10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200"/>
                                        <p:tgtEl>
                                          <p:spTgt spid="16"/>
                                        </p:tgtEl>
                                      </p:cBhvr>
                                    </p:animEffect>
                                  </p:childTnLst>
                                </p:cTn>
                              </p:par>
                              <p:par>
                                <p:cTn id="23" presetID="42" presetClass="path" presetSubtype="0" decel="100000" fill="hold" grpId="1" nodeType="withEffect">
                                  <p:stCondLst>
                                    <p:cond delay="100"/>
                                  </p:stCondLst>
                                  <p:childTnLst>
                                    <p:animMotion origin="layout" path="M 0 0.03889 L 0 -2.96296E-6 " pathEditMode="relative" rAng="0" ptsTypes="AA">
                                      <p:cBhvr>
                                        <p:cTn id="24" dur="500" fill="hold"/>
                                        <p:tgtEl>
                                          <p:spTgt spid="16"/>
                                        </p:tgtEl>
                                        <p:attrNameLst>
                                          <p:attrName>ppt_x</p:attrName>
                                          <p:attrName>ppt_y</p:attrName>
                                        </p:attrNameLst>
                                      </p:cBhvr>
                                      <p:rCtr x="0" y="-1944"/>
                                    </p:animMotion>
                                  </p:childTnLst>
                                </p:cTn>
                              </p:par>
                              <p:par>
                                <p:cTn id="25" presetID="10" presetClass="entr" presetSubtype="0"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200"/>
                                        <p:tgtEl>
                                          <p:spTgt spid="5"/>
                                        </p:tgtEl>
                                      </p:cBhvr>
                                    </p:animEffect>
                                  </p:childTnLst>
                                </p:cTn>
                              </p:par>
                              <p:par>
                                <p:cTn id="28" presetID="42" presetClass="path" presetSubtype="0" decel="100000" fill="hold" grpId="1" nodeType="withEffect">
                                  <p:stCondLst>
                                    <p:cond delay="0"/>
                                  </p:stCondLst>
                                  <p:childTnLst>
                                    <p:animMotion origin="layout" path="M -4.375E-6 0.03889 L -4.375E-6 -2.59259E-6 " pathEditMode="relative" rAng="0" ptsTypes="AA">
                                      <p:cBhvr>
                                        <p:cTn id="29" dur="500" fill="hold"/>
                                        <p:tgtEl>
                                          <p:spTgt spid="5"/>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7" grpId="0"/>
      <p:bldP spid="7" grpId="1"/>
      <p:bldP spid="16" grpId="0" animBg="1"/>
      <p:bldP spid="16" grpId="1" animBg="1"/>
      <p:bldP spid="5" grpId="0"/>
      <p:bldP spid="5"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39739F-792A-1634-A4E5-9BCB6720D5F6}"/>
            </a:ext>
          </a:extLst>
        </p:cNvPr>
        <p:cNvGrpSpPr/>
        <p:nvPr/>
      </p:nvGrpSpPr>
      <p:grpSpPr>
        <a:xfrm>
          <a:off x="0" y="0"/>
          <a:ext cx="0" cy="0"/>
          <a:chOff x="0" y="0"/>
          <a:chExt cx="0" cy="0"/>
        </a:xfrm>
      </p:grpSpPr>
      <p:sp>
        <p:nvSpPr>
          <p:cNvPr id="2" name="Rounded Rectangle 56">
            <a:extLst>
              <a:ext uri="{FF2B5EF4-FFF2-40B4-BE49-F238E27FC236}">
                <a16:creationId xmlns:a16="http://schemas.microsoft.com/office/drawing/2014/main" id="{7C9FEE6C-5DF6-FA78-EFC5-B58B399961A4}"/>
              </a:ext>
            </a:extLst>
          </p:cNvPr>
          <p:cNvSpPr>
            <a:spLocks/>
          </p:cNvSpPr>
          <p:nvPr/>
        </p:nvSpPr>
        <p:spPr>
          <a:xfrm>
            <a:off x="355227" y="597186"/>
            <a:ext cx="3491944" cy="5663628"/>
          </a:xfrm>
          <a:prstGeom prst="roundRect">
            <a:avLst>
              <a:gd name="adj" fmla="val 4631"/>
            </a:avLst>
          </a:prstGeom>
          <a:solidFill>
            <a:srgbClr val="FFFFFF"/>
          </a:solidFill>
          <a:ln w="9525" cap="flat" cmpd="sng" algn="ctr">
            <a:noFill/>
            <a:prstDash val="solid"/>
            <a:headEnd type="none" w="med" len="med"/>
            <a:tailEnd type="none" w="med" len="med"/>
          </a:ln>
          <a:effectLst>
            <a:outerShdw blurRad="127000" dist="38100" dir="5400000" algn="t" rotWithShape="0">
              <a:srgbClr val="FFFFFF">
                <a:lumMod val="50000"/>
                <a:alpha val="3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6" name="Title 25">
            <a:extLst>
              <a:ext uri="{FF2B5EF4-FFF2-40B4-BE49-F238E27FC236}">
                <a16:creationId xmlns:a16="http://schemas.microsoft.com/office/drawing/2014/main" id="{254C3ECC-EBE8-C8B1-A823-C956668558AB}"/>
              </a:ext>
            </a:extLst>
          </p:cNvPr>
          <p:cNvSpPr txBox="1">
            <a:spLocks/>
          </p:cNvSpPr>
          <p:nvPr/>
        </p:nvSpPr>
        <p:spPr>
          <a:xfrm>
            <a:off x="585215" y="1948173"/>
            <a:ext cx="3130257" cy="1077218"/>
          </a:xfrm>
          <a:prstGeom prst="rect">
            <a:avLst/>
          </a:prstGeom>
          <a:noFill/>
        </p:spPr>
        <p:txBody>
          <a:bodyPr vert="horz" lIns="0" tIns="45720" rIns="91440" bIns="45720" rtlCol="0" anchor="b">
            <a:spAutoFit/>
          </a:bodyPr>
          <a:lstStyle>
            <a:lvl1pPr algn="l" defTabSz="914400" rtl="0" eaLnBrk="1" latinLnBrk="0" hangingPunct="1">
              <a:lnSpc>
                <a:spcPct val="90000"/>
              </a:lnSpc>
              <a:spcBef>
                <a:spcPct val="0"/>
              </a:spcBef>
              <a:buNone/>
              <a:defRPr sz="3000" b="1" i="0" kern="1200" spc="-20" baseline="0">
                <a:solidFill>
                  <a:srgbClr val="000000"/>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gradFill>
                  <a:gsLst>
                    <a:gs pos="0">
                      <a:srgbClr val="FECBE6">
                        <a:lumMod val="90000"/>
                      </a:srgbClr>
                    </a:gs>
                    <a:gs pos="99000">
                      <a:srgbClr val="2764E7"/>
                    </a:gs>
                    <a:gs pos="46000">
                      <a:srgbClr val="BABAFF">
                        <a:lumMod val="90000"/>
                      </a:srgbClr>
                    </a:gs>
                  </a:gsLst>
                  <a:lin ang="13200000" scaled="0"/>
                </a:gradFill>
                <a:effectLst/>
                <a:uLnTx/>
                <a:uFillTx/>
                <a:latin typeface="Segoe Sans Display Semibold"/>
                <a:ea typeface="+mj-ea"/>
                <a:cs typeface="Segoe UI Semibold" panose="020B0702040204020203" pitchFamily="34" charset="0"/>
              </a:rPr>
              <a:t>Detection e Response </a:t>
            </a:r>
          </a:p>
        </p:txBody>
      </p:sp>
      <p:sp>
        <p:nvSpPr>
          <p:cNvPr id="7" name="TextBox 6">
            <a:extLst>
              <a:ext uri="{FF2B5EF4-FFF2-40B4-BE49-F238E27FC236}">
                <a16:creationId xmlns:a16="http://schemas.microsoft.com/office/drawing/2014/main" id="{574B10D9-F6A5-3CAF-22FA-D0B61D3BA340}"/>
              </a:ext>
            </a:extLst>
          </p:cNvPr>
          <p:cNvSpPr txBox="1"/>
          <p:nvPr/>
        </p:nvSpPr>
        <p:spPr>
          <a:xfrm>
            <a:off x="585215" y="3165155"/>
            <a:ext cx="3130257" cy="1938992"/>
          </a:xfrm>
          <a:prstGeom prst="rect">
            <a:avLst/>
          </a:prstGeom>
          <a:noFill/>
        </p:spPr>
        <p:txBody>
          <a:bodyPr wrap="square" lIns="0" tIns="0" rIns="0" bIns="0" rtlCol="0">
            <a:spAutoFit/>
          </a:bodyPr>
          <a:lstStyle>
            <a:defPPr>
              <a:defRPr lang="en-US"/>
            </a:defPPr>
            <a:lvl1pPr lvl="0">
              <a:lnSpc>
                <a:spcPct val="110000"/>
              </a:lnSpc>
              <a:defRPr>
                <a:solidFill>
                  <a:schemeClr val="tx2"/>
                </a:solidFill>
                <a:cs typeface="Segoe Sans Display"/>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002060"/>
                </a:solidFill>
                <a:effectLst/>
                <a:uLnTx/>
                <a:uFillTx/>
                <a:latin typeface="Segoe Sans Display"/>
                <a:ea typeface="+mn-ea"/>
                <a:cs typeface="Segoe Sans Display"/>
              </a:rPr>
              <a:t>Intercettare attacchi noti o sospetti che possano coinvolgere gli agenti</a:t>
            </a:r>
            <a:r>
              <a:rPr kumimoji="0" lang="it-IT" sz="1800" b="0" i="0" u="none" strike="noStrike" kern="1200" cap="none" spc="0" normalizeH="0" noProof="0" dirty="0">
                <a:ln>
                  <a:noFill/>
                </a:ln>
                <a:solidFill>
                  <a:srgbClr val="002060"/>
                </a:solidFill>
                <a:effectLst/>
                <a:uLnTx/>
                <a:uFillTx/>
                <a:latin typeface="Segoe Sans Display"/>
                <a:ea typeface="+mn-ea"/>
                <a:cs typeface="Segoe Sans Display"/>
              </a:rPr>
              <a:t> è possibile tramite gli strumenti di sicurezza e di risposta forniti da Microsoft e ben integrati all’interno dei suoi servizi.</a:t>
            </a:r>
            <a:endParaRPr kumimoji="0" lang="it-IT" sz="1800" b="0" i="0" u="none" strike="noStrike" kern="1200" cap="none" spc="0" normalizeH="0" baseline="0" noProof="0" dirty="0">
              <a:ln>
                <a:noFill/>
              </a:ln>
              <a:solidFill>
                <a:srgbClr val="002060"/>
              </a:solidFill>
              <a:effectLst/>
              <a:uLnTx/>
              <a:uFillTx/>
              <a:latin typeface="Segoe Sans Display"/>
              <a:ea typeface="+mn-ea"/>
              <a:cs typeface="Segoe Sans Display"/>
            </a:endParaRPr>
          </a:p>
        </p:txBody>
      </p:sp>
      <p:sp>
        <p:nvSpPr>
          <p:cNvPr id="13" name="Title 25">
            <a:extLst>
              <a:ext uri="{FF2B5EF4-FFF2-40B4-BE49-F238E27FC236}">
                <a16:creationId xmlns:a16="http://schemas.microsoft.com/office/drawing/2014/main" id="{560E16E4-E0FC-7AEC-EE2C-9B2333AE79AE}"/>
              </a:ext>
            </a:extLst>
          </p:cNvPr>
          <p:cNvSpPr txBox="1">
            <a:spLocks/>
          </p:cNvSpPr>
          <p:nvPr/>
        </p:nvSpPr>
        <p:spPr>
          <a:xfrm>
            <a:off x="585215" y="1583871"/>
            <a:ext cx="2858107" cy="294420"/>
          </a:xfrm>
          <a:prstGeom prst="rect">
            <a:avLst/>
          </a:prstGeom>
          <a:noFill/>
        </p:spPr>
        <p:txBody>
          <a:bodyPr vert="horz" lIns="0" tIns="45720" rIns="91440" bIns="45720" rtlCol="0" anchor="ctr">
            <a:noAutofit/>
          </a:bodyPr>
          <a:lstStyle>
            <a:defPPr>
              <a:defRPr lang="en-US"/>
            </a:defPPr>
            <a:lvl1pPr lvl="0">
              <a:lnSpc>
                <a:spcPct val="100000"/>
              </a:lnSpc>
              <a:spcBef>
                <a:spcPct val="0"/>
              </a:spcBef>
              <a:buNone/>
              <a:defRPr sz="1200" b="0" i="0" spc="150" baseline="0">
                <a:solidFill>
                  <a:schemeClr val="bg1">
                    <a:lumMod val="50000"/>
                  </a:schemeClr>
                </a:solidFill>
                <a:ea typeface="+mj-ea"/>
                <a:cs typeface="Segoe Sans Display Semibold"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150" normalizeH="0" baseline="0" noProof="0" dirty="0">
                <a:ln>
                  <a:noFill/>
                </a:ln>
                <a:solidFill>
                  <a:srgbClr val="FFFFFF">
                    <a:lumMod val="50000"/>
                  </a:srgbClr>
                </a:solidFill>
                <a:effectLst/>
                <a:uLnTx/>
                <a:uFillTx/>
                <a:latin typeface="Segoe Sans Display"/>
                <a:ea typeface="+mj-ea"/>
                <a:cs typeface="Segoe Sans Display Semibold" pitchFamily="2" charset="0"/>
              </a:rPr>
              <a:t>SICUREZZA</a:t>
            </a:r>
          </a:p>
        </p:txBody>
      </p:sp>
      <p:pic>
        <p:nvPicPr>
          <p:cNvPr id="4" name="Picture 3" descr="A screenshot of a computer&#10;&#10;AI-generated content may be incorrect.">
            <a:extLst>
              <a:ext uri="{FF2B5EF4-FFF2-40B4-BE49-F238E27FC236}">
                <a16:creationId xmlns:a16="http://schemas.microsoft.com/office/drawing/2014/main" id="{38D081D7-ECCA-0178-71CF-EE0593250683}"/>
              </a:ext>
            </a:extLst>
          </p:cNvPr>
          <p:cNvPicPr>
            <a:picLocks noChangeAspect="1"/>
          </p:cNvPicPr>
          <p:nvPr/>
        </p:nvPicPr>
        <p:blipFill>
          <a:blip r:embed="rId3"/>
          <a:stretch>
            <a:fillRect/>
          </a:stretch>
        </p:blipFill>
        <p:spPr>
          <a:xfrm>
            <a:off x="4259263" y="1354602"/>
            <a:ext cx="7378630" cy="4148796"/>
          </a:xfrm>
          <a:prstGeom prst="roundRect">
            <a:avLst>
              <a:gd name="adj" fmla="val 0"/>
            </a:avLst>
          </a:prstGeom>
          <a:solidFill>
            <a:srgbClr val="FFFFFF"/>
          </a:solidFill>
          <a:ln w="9525" cap="flat" cmpd="sng" algn="ctr">
            <a:noFill/>
            <a:prstDash val="solid"/>
            <a:headEnd type="none" w="med" len="med"/>
            <a:tailEnd type="none" w="med" len="med"/>
          </a:ln>
          <a:effectLst>
            <a:outerShdw blurRad="127000" dist="38100" dir="5400000" algn="t" rotWithShape="0">
              <a:srgbClr val="FFFFFF">
                <a:lumMod val="50000"/>
                <a:alpha val="30000"/>
              </a:srgbClr>
            </a:outerShdw>
          </a:effectLst>
        </p:spPr>
      </p:pic>
    </p:spTree>
    <p:extLst>
      <p:ext uri="{BB962C8B-B14F-4D97-AF65-F5344CB8AC3E}">
        <p14:creationId xmlns:p14="http://schemas.microsoft.com/office/powerpoint/2010/main" val="2667524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
                                        <p:tgtEl>
                                          <p:spTgt spid="7"/>
                                        </p:tgtEl>
                                      </p:cBhvr>
                                    </p:animEffect>
                                  </p:childTnLst>
                                </p:cTn>
                              </p:par>
                              <p:par>
                                <p:cTn id="8" presetID="42" presetClass="path" presetSubtype="0" decel="100000" fill="hold" grpId="1" nodeType="withEffect">
                                  <p:stCondLst>
                                    <p:cond delay="0"/>
                                  </p:stCondLst>
                                  <p:childTnLst>
                                    <p:animMotion origin="layout" path="M -2.08333E-6 0.03889 L -2.08333E-6 2.22222E-6 " pathEditMode="relative" rAng="0" ptsTypes="AA">
                                      <p:cBhvr>
                                        <p:cTn id="9" dur="500" fill="hold"/>
                                        <p:tgtEl>
                                          <p:spTgt spid="7"/>
                                        </p:tgtEl>
                                        <p:attrNameLst>
                                          <p:attrName>ppt_x</p:attrName>
                                          <p:attrName>ppt_y</p:attrName>
                                        </p:attrNameLst>
                                      </p:cBhvr>
                                      <p:rCtr x="0" y="-1944"/>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200"/>
                                        <p:tgtEl>
                                          <p:spTgt spid="6"/>
                                        </p:tgtEl>
                                      </p:cBhvr>
                                    </p:animEffect>
                                  </p:childTnLst>
                                </p:cTn>
                              </p:par>
                              <p:par>
                                <p:cTn id="13" presetID="42" presetClass="path" presetSubtype="0" decel="100000" fill="hold" grpId="1" nodeType="withEffect">
                                  <p:stCondLst>
                                    <p:cond delay="0"/>
                                  </p:stCondLst>
                                  <p:childTnLst>
                                    <p:animMotion origin="layout" path="M -2.08333E-6 0.03888 L -2.08333E-6 4.81481E-6 " pathEditMode="relative" rAng="0" ptsTypes="AA">
                                      <p:cBhvr>
                                        <p:cTn id="14" dur="500" fill="hold"/>
                                        <p:tgtEl>
                                          <p:spTgt spid="6"/>
                                        </p:tgtEl>
                                        <p:attrNameLst>
                                          <p:attrName>ppt_x</p:attrName>
                                          <p:attrName>ppt_y</p:attrName>
                                        </p:attrNameLst>
                                      </p:cBhvr>
                                      <p:rCtr x="0" y="-1944"/>
                                    </p:animMotion>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200"/>
                                        <p:tgtEl>
                                          <p:spTgt spid="13"/>
                                        </p:tgtEl>
                                      </p:cBhvr>
                                    </p:animEffect>
                                  </p:childTnLst>
                                </p:cTn>
                              </p:par>
                              <p:par>
                                <p:cTn id="18" presetID="42" presetClass="path" presetSubtype="0" decel="100000" fill="hold" grpId="1" nodeType="withEffect">
                                  <p:stCondLst>
                                    <p:cond delay="0"/>
                                  </p:stCondLst>
                                  <p:childTnLst>
                                    <p:animMotion origin="layout" path="M -4.375E-6 0.03889 L -4.375E-6 -2.96296E-6 " pathEditMode="relative" rAng="0" ptsTypes="AA">
                                      <p:cBhvr>
                                        <p:cTn id="19" dur="500" fill="hold"/>
                                        <p:tgtEl>
                                          <p:spTgt spid="13"/>
                                        </p:tgtEl>
                                        <p:attrNameLst>
                                          <p:attrName>ppt_x</p:attrName>
                                          <p:attrName>ppt_y</p:attrName>
                                        </p:attrNameLst>
                                      </p:cBhvr>
                                      <p:rCtr x="0" y="-1944"/>
                                    </p:animMotion>
                                  </p:childTnLst>
                                </p:cTn>
                              </p:par>
                              <p:par>
                                <p:cTn id="20" presetID="10" presetClass="entr" presetSubtype="0" fill="hold" nodeType="withEffect">
                                  <p:stCondLst>
                                    <p:cond delay="10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200"/>
                                        <p:tgtEl>
                                          <p:spTgt spid="4"/>
                                        </p:tgtEl>
                                      </p:cBhvr>
                                    </p:animEffect>
                                  </p:childTnLst>
                                </p:cTn>
                              </p:par>
                              <p:par>
                                <p:cTn id="23" presetID="42" presetClass="path" presetSubtype="0" decel="100000" fill="hold" nodeType="withEffect">
                                  <p:stCondLst>
                                    <p:cond delay="100"/>
                                  </p:stCondLst>
                                  <p:childTnLst>
                                    <p:animMotion origin="layout" path="M -3.125E-6 0.03889 L -3.125E-6 0 " pathEditMode="relative" rAng="0" ptsTypes="AA">
                                      <p:cBhvr>
                                        <p:cTn id="24" dur="500" fill="hold"/>
                                        <p:tgtEl>
                                          <p:spTgt spid="4"/>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P spid="13" grpId="0"/>
      <p:bldP spid="13"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568A15-3CA4-2E30-EBB0-0DC971D1FE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8CA9354-E8F4-0DC3-70F3-6007DC49E5FD}"/>
              </a:ext>
            </a:extLst>
          </p:cNvPr>
          <p:cNvSpPr>
            <a:spLocks noGrp="1"/>
          </p:cNvSpPr>
          <p:nvPr>
            <p:ph type="title"/>
          </p:nvPr>
        </p:nvSpPr>
        <p:spPr>
          <a:xfrm>
            <a:off x="180561" y="2653647"/>
            <a:ext cx="8552622" cy="553998"/>
          </a:xfrm>
          <a:prstGeom prst="rect">
            <a:avLst/>
          </a:prstGeom>
        </p:spPr>
        <p:txBody>
          <a:bodyPr/>
          <a:lstStyle/>
          <a:p>
            <a:pPr lvl="0">
              <a:defRPr/>
            </a:pPr>
            <a:r>
              <a:rPr lang="it-IT" spc="-50" dirty="0">
                <a:ln w="3175">
                  <a:noFill/>
                </a:ln>
                <a:solidFill>
                  <a:schemeClr val="tx1"/>
                </a:solidFill>
                <a:latin typeface="Segoe Sans Display Semibold"/>
                <a:cs typeface="Segoe Sans Display Semibold"/>
              </a:rPr>
              <a:t>Materiali e formazione aggiuntiva</a:t>
            </a:r>
          </a:p>
        </p:txBody>
      </p:sp>
    </p:spTree>
    <p:extLst>
      <p:ext uri="{BB962C8B-B14F-4D97-AF65-F5344CB8AC3E}">
        <p14:creationId xmlns:p14="http://schemas.microsoft.com/office/powerpoint/2010/main" val="360246611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3067D9-302B-61BE-5688-DA435CF0B006}"/>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F0AEEBF9-9402-ACBF-5052-4C86EEC96EFC}"/>
              </a:ext>
            </a:extLst>
          </p:cNvPr>
          <p:cNvPicPr>
            <a:picLocks noChangeAspect="1"/>
          </p:cNvPicPr>
          <p:nvPr/>
        </p:nvPicPr>
        <p:blipFill>
          <a:blip r:embed="rId3"/>
          <a:srcRect l="8701"/>
          <a:stretch>
            <a:fillRect/>
          </a:stretch>
        </p:blipFill>
        <p:spPr>
          <a:xfrm>
            <a:off x="0" y="0"/>
            <a:ext cx="12192000" cy="6858000"/>
          </a:xfrm>
          <a:prstGeom prst="rect">
            <a:avLst/>
          </a:prstGeom>
        </p:spPr>
      </p:pic>
      <p:sp>
        <p:nvSpPr>
          <p:cNvPr id="18" name="Rectangle: Rounded Corners 17">
            <a:extLst>
              <a:ext uri="{FF2B5EF4-FFF2-40B4-BE49-F238E27FC236}">
                <a16:creationId xmlns:a16="http://schemas.microsoft.com/office/drawing/2014/main" id="{E65DC199-4309-AE30-3A12-E7FD74838436}"/>
              </a:ext>
            </a:extLst>
          </p:cNvPr>
          <p:cNvSpPr/>
          <p:nvPr/>
        </p:nvSpPr>
        <p:spPr bwMode="auto">
          <a:xfrm>
            <a:off x="614499" y="2705103"/>
            <a:ext cx="10765711" cy="3671988"/>
          </a:xfrm>
          <a:prstGeom prst="roundRect">
            <a:avLst/>
          </a:prstGeom>
          <a:solidFill>
            <a:schemeClr val="accent3">
              <a:lumMod val="20000"/>
              <a:lumOff val="80000"/>
              <a:alpha val="70000"/>
            </a:schemeClr>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9B709978-8FAC-6786-1557-739714AA9A76}"/>
              </a:ext>
            </a:extLst>
          </p:cNvPr>
          <p:cNvSpPr txBox="1">
            <a:spLocks/>
          </p:cNvSpPr>
          <p:nvPr/>
        </p:nvSpPr>
        <p:spPr>
          <a:xfrm>
            <a:off x="361691" y="289672"/>
            <a:ext cx="11018520" cy="837426"/>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fontAlgn="auto">
              <a:spcAft>
                <a:spcPts val="0"/>
              </a:spcAft>
              <a:buClrTx/>
              <a:buSzTx/>
              <a:tabLst/>
              <a:defRPr/>
            </a:pPr>
            <a:r>
              <a:rPr lang="it-it" spc="0">
                <a:cs typeface="Segoe Sans Text" pitchFamily="2" charset="0"/>
              </a:rPr>
              <a:t>Panoramica dei contenuti e delle risorse per l'adozione degli agenti</a:t>
            </a:r>
          </a:p>
        </p:txBody>
      </p:sp>
      <p:sp>
        <p:nvSpPr>
          <p:cNvPr id="7" name="TextBox 6">
            <a:extLst>
              <a:ext uri="{FF2B5EF4-FFF2-40B4-BE49-F238E27FC236}">
                <a16:creationId xmlns:a16="http://schemas.microsoft.com/office/drawing/2014/main" id="{259A9EC9-76AA-922D-4234-AB74D2BB8D99}"/>
              </a:ext>
            </a:extLst>
          </p:cNvPr>
          <p:cNvSpPr txBox="1"/>
          <p:nvPr/>
        </p:nvSpPr>
        <p:spPr>
          <a:xfrm>
            <a:off x="4671090" y="1702052"/>
            <a:ext cx="2882199" cy="523220"/>
          </a:xfrm>
          <a:prstGeom prst="rect">
            <a:avLst/>
          </a:prstGeom>
          <a:noFill/>
        </p:spPr>
        <p:txBody>
          <a:bodyPr wrap="none" lIns="0" tIns="0" rIns="0" bIns="0" rtlCol="0">
            <a:spAutoFit/>
          </a:bodyPr>
          <a:lstStyle/>
          <a:p>
            <a:pPr algn="ctr"/>
            <a:r>
              <a:rPr lang="it-it" sz="2000" b="1">
                <a:hlinkClick r:id="rId4"/>
              </a:rPr>
              <a:t>Sito di adozione Microsoft</a:t>
            </a:r>
            <a:endParaRPr lang="en-US" sz="2000" b="1"/>
          </a:p>
          <a:p>
            <a:pPr algn="ctr"/>
            <a:r>
              <a:rPr lang="it-it" sz="1400"/>
              <a:t>Tutti i prodotti Microsoft</a:t>
            </a:r>
          </a:p>
        </p:txBody>
      </p:sp>
      <p:sp>
        <p:nvSpPr>
          <p:cNvPr id="8" name="TextBox 7">
            <a:extLst>
              <a:ext uri="{FF2B5EF4-FFF2-40B4-BE49-F238E27FC236}">
                <a16:creationId xmlns:a16="http://schemas.microsoft.com/office/drawing/2014/main" id="{0BBB20C4-6253-878D-F040-36CDFCCCC6C3}"/>
              </a:ext>
            </a:extLst>
          </p:cNvPr>
          <p:cNvSpPr txBox="1"/>
          <p:nvPr/>
        </p:nvSpPr>
        <p:spPr>
          <a:xfrm>
            <a:off x="2980853" y="2820668"/>
            <a:ext cx="2573461" cy="523220"/>
          </a:xfrm>
          <a:prstGeom prst="rect">
            <a:avLst/>
          </a:prstGeom>
          <a:noFill/>
        </p:spPr>
        <p:txBody>
          <a:bodyPr wrap="none" lIns="0" tIns="0" rIns="0" bIns="0" rtlCol="0">
            <a:spAutoFit/>
          </a:bodyPr>
          <a:lstStyle/>
          <a:p>
            <a:pPr algn="ctr"/>
            <a:r>
              <a:rPr lang="it-it" sz="2000" b="1" dirty="0">
                <a:hlinkClick r:id="rId5"/>
              </a:rPr>
              <a:t>Centro di adozione di Copilot</a:t>
            </a:r>
            <a:endParaRPr lang="en-US" sz="2000" b="1" dirty="0"/>
          </a:p>
          <a:p>
            <a:pPr algn="ctr"/>
            <a:r>
              <a:rPr lang="it-it" sz="1400" dirty="0"/>
              <a:t>M365 Copilot e Agent Builder</a:t>
            </a:r>
          </a:p>
        </p:txBody>
      </p:sp>
      <p:sp>
        <p:nvSpPr>
          <p:cNvPr id="9" name="TextBox 8">
            <a:extLst>
              <a:ext uri="{FF2B5EF4-FFF2-40B4-BE49-F238E27FC236}">
                <a16:creationId xmlns:a16="http://schemas.microsoft.com/office/drawing/2014/main" id="{CF759607-B232-5489-8417-0B6F99E142DE}"/>
              </a:ext>
            </a:extLst>
          </p:cNvPr>
          <p:cNvSpPr txBox="1"/>
          <p:nvPr/>
        </p:nvSpPr>
        <p:spPr>
          <a:xfrm>
            <a:off x="6447477" y="2820874"/>
            <a:ext cx="2977226" cy="523220"/>
          </a:xfrm>
          <a:prstGeom prst="rect">
            <a:avLst/>
          </a:prstGeom>
          <a:noFill/>
        </p:spPr>
        <p:txBody>
          <a:bodyPr wrap="none" lIns="0" tIns="0" rIns="0" bIns="0" rtlCol="0">
            <a:spAutoFit/>
          </a:bodyPr>
          <a:lstStyle/>
          <a:p>
            <a:pPr algn="ctr"/>
            <a:r>
              <a:rPr lang="it-it" sz="2000" b="1">
                <a:hlinkClick r:id="rId6"/>
              </a:rPr>
              <a:t>Hub di adozione degli agenti</a:t>
            </a:r>
            <a:endParaRPr lang="en-US" sz="2000" b="1"/>
          </a:p>
          <a:p>
            <a:pPr algn="ctr"/>
            <a:r>
              <a:rPr lang="it-it" sz="1400"/>
              <a:t>Copilot Studio e Microsoft Foundry</a:t>
            </a:r>
          </a:p>
        </p:txBody>
      </p:sp>
      <p:sp>
        <p:nvSpPr>
          <p:cNvPr id="13" name="TextBox 12">
            <a:extLst>
              <a:ext uri="{FF2B5EF4-FFF2-40B4-BE49-F238E27FC236}">
                <a16:creationId xmlns:a16="http://schemas.microsoft.com/office/drawing/2014/main" id="{98D9307A-3B61-B6BA-5473-484FAA8BAFBD}"/>
              </a:ext>
            </a:extLst>
          </p:cNvPr>
          <p:cNvSpPr txBox="1"/>
          <p:nvPr/>
        </p:nvSpPr>
        <p:spPr>
          <a:xfrm>
            <a:off x="3255370" y="4519942"/>
            <a:ext cx="1998753" cy="523220"/>
          </a:xfrm>
          <a:prstGeom prst="rect">
            <a:avLst/>
          </a:prstGeom>
          <a:noFill/>
        </p:spPr>
        <p:txBody>
          <a:bodyPr wrap="none" lIns="0" tIns="0" rIns="0" bIns="0" rtlCol="0">
            <a:spAutoFit/>
          </a:bodyPr>
          <a:lstStyle/>
          <a:p>
            <a:pPr algn="ctr"/>
            <a:r>
              <a:rPr lang="it-it" sz="2000" b="1">
                <a:hlinkClick r:id="rId7"/>
              </a:rPr>
              <a:t>Agenti in M365</a:t>
            </a:r>
            <a:endParaRPr lang="en-US" sz="2000" b="1"/>
          </a:p>
          <a:p>
            <a:pPr algn="ctr"/>
            <a:r>
              <a:rPr lang="it-it" sz="1400"/>
              <a:t>Agenti sviluppati da Microsoft</a:t>
            </a:r>
          </a:p>
        </p:txBody>
      </p:sp>
      <p:sp>
        <p:nvSpPr>
          <p:cNvPr id="14" name="TextBox 13">
            <a:extLst>
              <a:ext uri="{FF2B5EF4-FFF2-40B4-BE49-F238E27FC236}">
                <a16:creationId xmlns:a16="http://schemas.microsoft.com/office/drawing/2014/main" id="{91E97097-5A01-C246-59B9-2564BBEFCEB4}"/>
              </a:ext>
            </a:extLst>
          </p:cNvPr>
          <p:cNvSpPr txBox="1"/>
          <p:nvPr/>
        </p:nvSpPr>
        <p:spPr>
          <a:xfrm>
            <a:off x="3183151" y="3907809"/>
            <a:ext cx="2168863" cy="523220"/>
          </a:xfrm>
          <a:prstGeom prst="rect">
            <a:avLst/>
          </a:prstGeom>
          <a:noFill/>
        </p:spPr>
        <p:txBody>
          <a:bodyPr wrap="none" lIns="0" tIns="0" rIns="0" bIns="0" rtlCol="0">
            <a:spAutoFit/>
          </a:bodyPr>
          <a:lstStyle/>
          <a:p>
            <a:pPr algn="ctr"/>
            <a:r>
              <a:rPr lang="it-it" sz="2000" b="1">
                <a:hlinkClick r:id="rId8"/>
              </a:rPr>
              <a:t>Kit per il successo con gli agenti</a:t>
            </a:r>
            <a:endParaRPr lang="en-US" sz="2000" b="1"/>
          </a:p>
          <a:p>
            <a:pPr algn="ctr"/>
            <a:r>
              <a:rPr lang="it-it" sz="1400"/>
              <a:t>Pianificazione per agenti</a:t>
            </a:r>
          </a:p>
        </p:txBody>
      </p:sp>
      <p:sp>
        <p:nvSpPr>
          <p:cNvPr id="15" name="TextBox 14">
            <a:extLst>
              <a:ext uri="{FF2B5EF4-FFF2-40B4-BE49-F238E27FC236}">
                <a16:creationId xmlns:a16="http://schemas.microsoft.com/office/drawing/2014/main" id="{80A3A84D-4ABF-11C1-B57C-4BE85870960C}"/>
              </a:ext>
            </a:extLst>
          </p:cNvPr>
          <p:cNvSpPr txBox="1"/>
          <p:nvPr/>
        </p:nvSpPr>
        <p:spPr>
          <a:xfrm>
            <a:off x="4459878" y="5689772"/>
            <a:ext cx="3230308" cy="523220"/>
          </a:xfrm>
          <a:prstGeom prst="rect">
            <a:avLst/>
          </a:prstGeom>
          <a:noFill/>
        </p:spPr>
        <p:txBody>
          <a:bodyPr wrap="none" lIns="0" tIns="0" rIns="0" bIns="0" rtlCol="0">
            <a:spAutoFit/>
          </a:bodyPr>
          <a:lstStyle/>
          <a:p>
            <a:pPr algn="ctr"/>
            <a:r>
              <a:rPr lang="it-it" sz="2000" b="1" dirty="0">
                <a:hlinkClick r:id="rId9"/>
              </a:rPr>
              <a:t>Libreria di scenari Microsoft</a:t>
            </a:r>
            <a:endParaRPr lang="en-US" sz="2000" b="1" dirty="0"/>
          </a:p>
          <a:p>
            <a:pPr algn="ctr"/>
            <a:r>
              <a:rPr lang="it-it" sz="1400" dirty="0"/>
              <a:t>Casi d'uso per Copilot e agenti</a:t>
            </a:r>
          </a:p>
        </p:txBody>
      </p:sp>
      <p:cxnSp>
        <p:nvCxnSpPr>
          <p:cNvPr id="20" name="Straight Connector 19">
            <a:extLst>
              <a:ext uri="{FF2B5EF4-FFF2-40B4-BE49-F238E27FC236}">
                <a16:creationId xmlns:a16="http://schemas.microsoft.com/office/drawing/2014/main" id="{3768E6D5-6E82-81A8-0EB1-C0ADFB73E764}"/>
              </a:ext>
            </a:extLst>
          </p:cNvPr>
          <p:cNvCxnSpPr>
            <a:cxnSpLocks/>
          </p:cNvCxnSpPr>
          <p:nvPr/>
        </p:nvCxnSpPr>
        <p:spPr>
          <a:xfrm>
            <a:off x="6115842" y="2349451"/>
            <a:ext cx="0" cy="17782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D243A33-2601-80FA-52C5-EACF9F1624CD}"/>
              </a:ext>
            </a:extLst>
          </p:cNvPr>
          <p:cNvCxnSpPr>
            <a:cxnSpLocks/>
          </p:cNvCxnSpPr>
          <p:nvPr/>
        </p:nvCxnSpPr>
        <p:spPr>
          <a:xfrm>
            <a:off x="4267583" y="2527277"/>
            <a:ext cx="366850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2944858-BD8D-7147-4F6C-918D52006578}"/>
              </a:ext>
            </a:extLst>
          </p:cNvPr>
          <p:cNvCxnSpPr>
            <a:cxnSpLocks/>
          </p:cNvCxnSpPr>
          <p:nvPr/>
        </p:nvCxnSpPr>
        <p:spPr>
          <a:xfrm>
            <a:off x="4267583" y="2527277"/>
            <a:ext cx="0" cy="29339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CA02FB2-B871-C729-D8D3-9C044C3A3DE6}"/>
              </a:ext>
            </a:extLst>
          </p:cNvPr>
          <p:cNvCxnSpPr>
            <a:cxnSpLocks/>
          </p:cNvCxnSpPr>
          <p:nvPr/>
        </p:nvCxnSpPr>
        <p:spPr>
          <a:xfrm>
            <a:off x="7923253" y="2527277"/>
            <a:ext cx="0" cy="29339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7631E07-2150-8003-21CA-DCEE962B1A59}"/>
              </a:ext>
            </a:extLst>
          </p:cNvPr>
          <p:cNvCxnSpPr>
            <a:cxnSpLocks/>
          </p:cNvCxnSpPr>
          <p:nvPr/>
        </p:nvCxnSpPr>
        <p:spPr>
          <a:xfrm>
            <a:off x="4254747" y="3406483"/>
            <a:ext cx="1261" cy="49787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E28F280-73E6-D02A-E250-BAAB6E039FA3}"/>
              </a:ext>
            </a:extLst>
          </p:cNvPr>
          <p:cNvCxnSpPr>
            <a:cxnSpLocks/>
          </p:cNvCxnSpPr>
          <p:nvPr/>
        </p:nvCxnSpPr>
        <p:spPr>
          <a:xfrm>
            <a:off x="7923253" y="3406483"/>
            <a:ext cx="0" cy="1882382"/>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48929703-530A-33BC-4BB9-456BD848DEC5}"/>
              </a:ext>
            </a:extLst>
          </p:cNvPr>
          <p:cNvGrpSpPr/>
          <p:nvPr/>
        </p:nvGrpSpPr>
        <p:grpSpPr>
          <a:xfrm rot="10800000">
            <a:off x="4254786" y="5142169"/>
            <a:ext cx="3668506" cy="471217"/>
            <a:chOff x="2437846" y="4611586"/>
            <a:chExt cx="3668506" cy="471217"/>
          </a:xfrm>
        </p:grpSpPr>
        <p:cxnSp>
          <p:nvCxnSpPr>
            <p:cNvPr id="39" name="Straight Connector 38">
              <a:extLst>
                <a:ext uri="{FF2B5EF4-FFF2-40B4-BE49-F238E27FC236}">
                  <a16:creationId xmlns:a16="http://schemas.microsoft.com/office/drawing/2014/main" id="{235B297D-4066-703F-68AA-6FB0FA118785}"/>
                </a:ext>
              </a:extLst>
            </p:cNvPr>
            <p:cNvCxnSpPr>
              <a:cxnSpLocks/>
            </p:cNvCxnSpPr>
            <p:nvPr/>
          </p:nvCxnSpPr>
          <p:spPr>
            <a:xfrm>
              <a:off x="4286105" y="4611586"/>
              <a:ext cx="0" cy="17782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992050D-35FE-7E82-A034-9A23CE3E82F8}"/>
                </a:ext>
              </a:extLst>
            </p:cNvPr>
            <p:cNvCxnSpPr>
              <a:cxnSpLocks/>
            </p:cNvCxnSpPr>
            <p:nvPr/>
          </p:nvCxnSpPr>
          <p:spPr>
            <a:xfrm>
              <a:off x="2437846" y="4789412"/>
              <a:ext cx="366850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1E4ADB8-14E8-F82D-0066-7C15204A325A}"/>
                </a:ext>
              </a:extLst>
            </p:cNvPr>
            <p:cNvCxnSpPr>
              <a:cxnSpLocks/>
            </p:cNvCxnSpPr>
            <p:nvPr/>
          </p:nvCxnSpPr>
          <p:spPr>
            <a:xfrm>
              <a:off x="2437846" y="4789412"/>
              <a:ext cx="0" cy="29339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2CA361F-8C28-D800-09B3-033B6518717C}"/>
                </a:ext>
              </a:extLst>
            </p:cNvPr>
            <p:cNvCxnSpPr>
              <a:cxnSpLocks/>
            </p:cNvCxnSpPr>
            <p:nvPr/>
          </p:nvCxnSpPr>
          <p:spPr>
            <a:xfrm>
              <a:off x="6093516" y="4789412"/>
              <a:ext cx="0" cy="29339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44" name="!Copilot">
            <a:extLst>
              <a:ext uri="{FF2B5EF4-FFF2-40B4-BE49-F238E27FC236}">
                <a16:creationId xmlns:a16="http://schemas.microsoft.com/office/drawing/2014/main" id="{DD048F5E-6C51-4ED1-2436-40CF350626D1}"/>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50761" y="3664140"/>
            <a:ext cx="1188720" cy="1188720"/>
          </a:xfrm>
          <a:prstGeom prst="rect">
            <a:avLst/>
          </a:prstGeom>
          <a:noFill/>
          <a:ln>
            <a:noFill/>
            <a:headEnd type="none" w="med" len="med"/>
            <a:tailEnd type="none" w="med" len="med"/>
          </a:ln>
          <a:effectLst>
            <a:outerShdw blurRad="50800" dist="38100" dir="2700000" sx="103000" sy="103000" algn="tl" rotWithShape="0">
              <a:prstClr val="black">
                <a:alpha val="40000"/>
              </a:prstClr>
            </a:outerShdw>
          </a:effectLst>
        </p:spPr>
      </p:pic>
      <p:pic>
        <p:nvPicPr>
          <p:cNvPr id="45" name="Picture 4" descr="Azure AI Studio - Prezzi | Microsoft Azure">
            <a:extLst>
              <a:ext uri="{FF2B5EF4-FFF2-40B4-BE49-F238E27FC236}">
                <a16:creationId xmlns:a16="http://schemas.microsoft.com/office/drawing/2014/main" id="{497FD9A4-CE98-836E-EDF7-316F419D17A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77016" y="4459495"/>
            <a:ext cx="2264223" cy="118872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Microsoft Copilot Studio - Adozione Microsoft">
            <a:extLst>
              <a:ext uri="{FF2B5EF4-FFF2-40B4-BE49-F238E27FC236}">
                <a16:creationId xmlns:a16="http://schemas.microsoft.com/office/drawing/2014/main" id="{3BD4EDF3-BB19-ED67-307B-8A5587B661F2}"/>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0000">
                        <a14:foregroundMark x1="47800" y1="10000" x2="55000" y2="10600"/>
                      </a14:backgroundRemoval>
                    </a14:imgEffect>
                  </a14:imgLayer>
                </a14:imgProps>
              </a:ext>
            </a:extLst>
          </a:blip>
          <a:stretch>
            <a:fillRect/>
          </a:stretch>
        </p:blipFill>
        <p:spPr>
          <a:xfrm>
            <a:off x="9494626" y="3065015"/>
            <a:ext cx="1188719" cy="1188719"/>
          </a:xfrm>
          <a:prstGeom prst="rect">
            <a:avLst/>
          </a:prstGeom>
        </p:spPr>
      </p:pic>
    </p:spTree>
    <p:extLst>
      <p:ext uri="{BB962C8B-B14F-4D97-AF65-F5344CB8AC3E}">
        <p14:creationId xmlns:p14="http://schemas.microsoft.com/office/powerpoint/2010/main" val="360737453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034880-FF32-30A8-5A28-49B1236A5415}"/>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7FA4A1D7-C6A7-CC9B-E55C-06AF7D4A38D3}"/>
              </a:ext>
            </a:extLst>
          </p:cNvPr>
          <p:cNvSpPr txBox="1"/>
          <p:nvPr/>
        </p:nvSpPr>
        <p:spPr>
          <a:xfrm>
            <a:off x="7573708" y="4529295"/>
            <a:ext cx="4224865" cy="1384995"/>
          </a:xfrm>
          <a:prstGeom prst="rect">
            <a:avLst/>
          </a:prstGeom>
          <a:solidFill>
            <a:schemeClr val="accent4">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1" u="none" strike="noStrike" kern="1200" cap="none" spc="0" normalizeH="0" baseline="0" noProof="0" dirty="0">
                <a:ln>
                  <a:noFill/>
                </a:ln>
                <a:solidFill>
                  <a:srgbClr val="0070C0"/>
                </a:solidFill>
                <a:effectLst/>
                <a:uLnTx/>
                <a:uFillTx/>
                <a:ea typeface="+mn-ea"/>
                <a:cs typeface="Segoe UI" panose="020B0502040204020203" pitchFamily="34" charset="0"/>
              </a:rPr>
              <a:t>Risultato:</a:t>
            </a:r>
            <a:r>
              <a:rPr kumimoji="0" lang="it-it" sz="1200" b="0" i="1" u="none" strike="noStrike" kern="1200" cap="none" spc="0" normalizeH="0" baseline="0" noProof="0" dirty="0">
                <a:ln>
                  <a:noFill/>
                </a:ln>
                <a:solidFill>
                  <a:prstClr val="black"/>
                </a:solidFill>
                <a:effectLst/>
                <a:uLnTx/>
                <a:uFillTx/>
                <a:ea typeface="+mn-ea"/>
                <a:cs typeface="Segoe UI" panose="020B0502040204020203"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dirty="0">
                <a:ln>
                  <a:noFill/>
                </a:ln>
                <a:solidFill>
                  <a:prstClr val="black"/>
                </a:solidFill>
                <a:effectLst/>
                <a:uLnTx/>
                <a:uFillTx/>
                <a:ea typeface="+mn-ea"/>
                <a:cs typeface="+mn-cs"/>
              </a:rPr>
              <a:t>I partecipanti esplorano</a:t>
            </a:r>
            <a:r>
              <a:rPr kumimoji="0" lang="it-it" sz="1200" b="0" i="1" u="none" strike="noStrike" kern="1200" cap="none" spc="0" normalizeH="0" baseline="0" noProof="0" dirty="0">
                <a:ln>
                  <a:noFill/>
                </a:ln>
                <a:solidFill>
                  <a:prstClr val="black"/>
                </a:solidFill>
                <a:effectLst/>
                <a:uLnTx/>
                <a:uFillTx/>
                <a:ea typeface="+mn-ea"/>
                <a:cs typeface="Segoe UI" panose="020B0502040204020203" pitchFamily="34" charset="0"/>
              </a:rPr>
              <a:t> </a:t>
            </a:r>
            <a:r>
              <a:rPr kumimoji="0" lang="it-it" sz="1200" b="0" i="0" u="none" strike="noStrike" kern="1200" cap="none" spc="0" normalizeH="0" baseline="0" noProof="0" dirty="0">
                <a:ln>
                  <a:noFill/>
                </a:ln>
                <a:solidFill>
                  <a:prstClr val="black"/>
                </a:solidFill>
                <a:effectLst/>
                <a:uLnTx/>
                <a:uFillTx/>
                <a:ea typeface="+mn-ea"/>
                <a:cs typeface="+mn-cs"/>
              </a:rPr>
              <a:t>nuove capacità della piattaform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dirty="0">
                <a:ln>
                  <a:noFill/>
                </a:ln>
                <a:solidFill>
                  <a:prstClr val="black"/>
                </a:solidFill>
                <a:effectLst/>
                <a:uLnTx/>
                <a:uFillTx/>
                <a:ea typeface="+mn-ea"/>
                <a:cs typeface="+mn-cs"/>
              </a:rPr>
              <a:t>Scopri la governance, i framework di adozione</a:t>
            </a:r>
            <a:r>
              <a:rPr lang="it-it" sz="1200" dirty="0">
                <a:solidFill>
                  <a:prstClr val="black"/>
                </a:solidFill>
              </a:rPr>
              <a:t> e </a:t>
            </a:r>
            <a:r>
              <a:rPr kumimoji="0" lang="it-it" sz="1200" b="0" i="0" u="none" strike="noStrike" kern="1200" cap="none" spc="0" normalizeH="0" baseline="0" noProof="0" dirty="0">
                <a:ln>
                  <a:noFill/>
                </a:ln>
                <a:solidFill>
                  <a:prstClr val="black"/>
                </a:solidFill>
                <a:effectLst/>
                <a:uLnTx/>
                <a:uFillTx/>
                <a:ea typeface="+mn-ea"/>
                <a:cs typeface="+mn-cs"/>
              </a:rPr>
              <a:t>le strategie di integrazione</a:t>
            </a:r>
            <a:endParaRPr lang="en-US" sz="1200" dirty="0">
              <a:solidFill>
                <a:prstClr val="black"/>
              </a:solidFil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dirty="0">
                <a:ln>
                  <a:noFill/>
                </a:ln>
                <a:solidFill>
                  <a:prstClr val="black"/>
                </a:solidFill>
                <a:effectLst/>
                <a:uLnTx/>
                <a:uFillTx/>
                <a:ea typeface="+mn-ea"/>
                <a:cs typeface="+mn-cs"/>
              </a:rPr>
              <a:t>Ottieni approfondimenti pratici e le procedure consigliate per creare agenti di IA efficaci.</a:t>
            </a:r>
          </a:p>
        </p:txBody>
      </p:sp>
      <p:sp>
        <p:nvSpPr>
          <p:cNvPr id="9" name="TextBox 8">
            <a:extLst>
              <a:ext uri="{FF2B5EF4-FFF2-40B4-BE49-F238E27FC236}">
                <a16:creationId xmlns:a16="http://schemas.microsoft.com/office/drawing/2014/main" id="{317A5D62-29AE-7609-8401-01714FFA65E4}"/>
              </a:ext>
            </a:extLst>
          </p:cNvPr>
          <p:cNvSpPr txBox="1"/>
          <p:nvPr/>
        </p:nvSpPr>
        <p:spPr>
          <a:xfrm>
            <a:off x="381000" y="983537"/>
            <a:ext cx="6591160" cy="796565"/>
          </a:xfrm>
          <a:prstGeom prst="rect">
            <a:avLst/>
          </a:prstGeom>
          <a:noFill/>
        </p:spPr>
        <p:txBody>
          <a:bodyPr wrap="square" rtlCol="0">
            <a:spAutoFit/>
          </a:bodyPr>
          <a:lstStyle/>
          <a:p>
            <a:pPr lvl="0" defTabSz="914400" eaLnBrk="0" fontAlgn="base" hangingPunct="0">
              <a:lnSpc>
                <a:spcPct val="150000"/>
              </a:lnSpc>
              <a:spcBef>
                <a:spcPct val="0"/>
              </a:spcBef>
              <a:spcAft>
                <a:spcPct val="0"/>
              </a:spcAft>
            </a:pPr>
            <a:r>
              <a:rPr lang="it-it" altLang="it-it" sz="2000" b="1" dirty="0">
                <a:solidFill>
                  <a:srgbClr val="00B0F0"/>
                </a:solidFill>
                <a:cs typeface="Segoe UI" panose="020B0502040204020203" pitchFamily="34" charset="0"/>
              </a:rPr>
              <a:t>Sessioni virtuali interattive </a:t>
            </a:r>
            <a:r>
              <a:rPr lang="it-it" altLang="it-it" sz="2000" b="1" dirty="0">
                <a:solidFill>
                  <a:schemeClr val="tx1">
                    <a:lumMod val="95000"/>
                  </a:schemeClr>
                </a:solidFill>
                <a:cs typeface="Segoe UI" panose="020B0502040204020203" pitchFamily="34" charset="0"/>
              </a:rPr>
              <a:t>(60-90 minuti)</a:t>
            </a:r>
          </a:p>
          <a:p>
            <a:pPr lvl="0" defTabSz="914400" eaLnBrk="0" fontAlgn="base" hangingPunct="0">
              <a:lnSpc>
                <a:spcPct val="150000"/>
              </a:lnSpc>
              <a:spcBef>
                <a:spcPct val="0"/>
              </a:spcBef>
              <a:spcAft>
                <a:spcPct val="0"/>
              </a:spcAft>
            </a:pPr>
            <a:r>
              <a:rPr lang="it-it" altLang="it-it" sz="1200" b="1" dirty="0">
                <a:solidFill>
                  <a:schemeClr val="tx1">
                    <a:lumMod val="95000"/>
                  </a:schemeClr>
                </a:solidFill>
                <a:cs typeface="Segoe UI" panose="020B0502040204020203" pitchFamily="34" charset="0"/>
              </a:rPr>
              <a:t>Progettate per aiutare le organizzazioni ad adottare Microsoft Copilot Studio e agenti.</a:t>
            </a:r>
            <a:endParaRPr lang="en-US" altLang="en-US" sz="2000" b="1" dirty="0">
              <a:solidFill>
                <a:schemeClr val="tx1">
                  <a:lumMod val="95000"/>
                </a:schemeClr>
              </a:solidFill>
              <a:cs typeface="Segoe UI" panose="020B0502040204020203" pitchFamily="34" charset="0"/>
            </a:endParaRPr>
          </a:p>
        </p:txBody>
      </p:sp>
      <p:sp>
        <p:nvSpPr>
          <p:cNvPr id="18" name="Rounded Rectangle 13">
            <a:hlinkClick r:id="rId3"/>
            <a:extLst>
              <a:ext uri="{FF2B5EF4-FFF2-40B4-BE49-F238E27FC236}">
                <a16:creationId xmlns:a16="http://schemas.microsoft.com/office/drawing/2014/main" id="{35727DC4-CB1D-59F3-4819-40CB6AF75220}"/>
              </a:ext>
            </a:extLst>
          </p:cNvPr>
          <p:cNvSpPr/>
          <p:nvPr/>
        </p:nvSpPr>
        <p:spPr>
          <a:xfrm>
            <a:off x="9996985" y="916810"/>
            <a:ext cx="1898206" cy="500441"/>
          </a:xfrm>
          <a:prstGeom prst="roundRect">
            <a:avLst/>
          </a:prstGeom>
          <a:solidFill>
            <a:srgbClr val="012D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19" name="TextBox 22">
            <a:extLst>
              <a:ext uri="{FF2B5EF4-FFF2-40B4-BE49-F238E27FC236}">
                <a16:creationId xmlns:a16="http://schemas.microsoft.com/office/drawing/2014/main" id="{FFE20B16-3690-5BDC-4D47-627767ED8EF9}"/>
              </a:ext>
            </a:extLst>
          </p:cNvPr>
          <p:cNvSpPr txBox="1"/>
          <p:nvPr/>
        </p:nvSpPr>
        <p:spPr>
          <a:xfrm>
            <a:off x="10087460" y="1104302"/>
            <a:ext cx="1723539" cy="153888"/>
          </a:xfrm>
          <a:prstGeom prst="rect">
            <a:avLst/>
          </a:prstGeom>
          <a:noFill/>
        </p:spPr>
        <p:txBody>
          <a:bodyPr wrap="square" lIns="0" tIns="0" rIns="0" bIns="0"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prstClr val="white"/>
                </a:solidFill>
                <a:effectLst/>
                <a:uLnTx/>
                <a:uFillTx/>
                <a:ea typeface="+mn-ea"/>
                <a:cs typeface="Segoe UI" panose="020B0502040204020203" pitchFamily="34" charset="0"/>
              </a:rPr>
              <a:t>REGISTRATI E SCOPRI DI PIÙ</a:t>
            </a:r>
          </a:p>
        </p:txBody>
      </p:sp>
      <p:sp>
        <p:nvSpPr>
          <p:cNvPr id="21" name="TextBox 20">
            <a:hlinkClick r:id="rId4"/>
            <a:extLst>
              <a:ext uri="{FF2B5EF4-FFF2-40B4-BE49-F238E27FC236}">
                <a16:creationId xmlns:a16="http://schemas.microsoft.com/office/drawing/2014/main" id="{3BFE209E-8EB4-3E84-88A3-C98E5B66D061}"/>
              </a:ext>
            </a:extLst>
          </p:cNvPr>
          <p:cNvSpPr txBox="1"/>
          <p:nvPr/>
        </p:nvSpPr>
        <p:spPr>
          <a:xfrm>
            <a:off x="9159154" y="1442312"/>
            <a:ext cx="357386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1" u="none" strike="noStrike" kern="1200" cap="none" spc="0" normalizeH="0" baseline="0" noProof="0">
                <a:ln>
                  <a:noFill/>
                </a:ln>
                <a:solidFill>
                  <a:prstClr val="black"/>
                </a:solidFill>
                <a:effectLst/>
                <a:uLnTx/>
                <a:uFillTx/>
                <a:ea typeface="+mn-ea"/>
                <a:cs typeface="+mn-cs"/>
                <a:hlinkClick r:id="rId5"/>
              </a:rPr>
              <a:t>aka.ms/CAT/AIWebinars</a:t>
            </a:r>
            <a:endParaRPr kumimoji="0" lang="en-US" sz="1400" b="0" i="1" u="none" strike="noStrike" kern="1200" cap="none" spc="0" normalizeH="0" baseline="0" noProof="0">
              <a:ln>
                <a:noFill/>
              </a:ln>
              <a:solidFill>
                <a:prstClr val="black"/>
              </a:solidFill>
              <a:effectLst/>
              <a:uLnTx/>
              <a:uFillTx/>
              <a:ea typeface="+mn-ea"/>
              <a:cs typeface="+mn-cs"/>
            </a:endParaRPr>
          </a:p>
        </p:txBody>
      </p:sp>
      <p:sp>
        <p:nvSpPr>
          <p:cNvPr id="23" name="TextBox 22">
            <a:extLst>
              <a:ext uri="{FF2B5EF4-FFF2-40B4-BE49-F238E27FC236}">
                <a16:creationId xmlns:a16="http://schemas.microsoft.com/office/drawing/2014/main" id="{318EB18E-2C84-EF4D-1028-508F5CD2085B}"/>
              </a:ext>
            </a:extLst>
          </p:cNvPr>
          <p:cNvSpPr txBox="1"/>
          <p:nvPr/>
        </p:nvSpPr>
        <p:spPr>
          <a:xfrm>
            <a:off x="666795" y="6423302"/>
            <a:ext cx="5334107" cy="2616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0" i="1" u="none" strike="noStrike" kern="1200" cap="none" spc="0" normalizeH="0" baseline="0" noProof="0">
                <a:ln>
                  <a:noFill/>
                </a:ln>
                <a:solidFill>
                  <a:prstClr val="black"/>
                </a:solidFill>
                <a:effectLst/>
                <a:uLnTx/>
                <a:uFillTx/>
                <a:ea typeface="+mn-ea"/>
                <a:cs typeface="+mn-cs"/>
              </a:rPr>
              <a:t> </a:t>
            </a:r>
            <a:r>
              <a:rPr kumimoji="0" lang="it-it" sz="1100" b="1" i="1" u="none" strike="noStrike" kern="1200" cap="none" spc="0" normalizeH="0" baseline="0" noProof="0">
                <a:ln>
                  <a:noFill/>
                </a:ln>
                <a:solidFill>
                  <a:srgbClr val="00B0F0"/>
                </a:solidFill>
                <a:effectLst/>
                <a:uLnTx/>
                <a:uFillTx/>
                <a:latin typeface="+mj-lt"/>
                <a:ea typeface="+mn-ea"/>
                <a:cs typeface="+mn-cs"/>
              </a:rPr>
              <a:t>aka.ms/aiwebinars/playlist</a:t>
            </a:r>
          </a:p>
        </p:txBody>
      </p:sp>
      <p:grpSp>
        <p:nvGrpSpPr>
          <p:cNvPr id="14" name="Group 13">
            <a:extLst>
              <a:ext uri="{FF2B5EF4-FFF2-40B4-BE49-F238E27FC236}">
                <a16:creationId xmlns:a16="http://schemas.microsoft.com/office/drawing/2014/main" id="{336B48E8-9404-ED46-7C43-75000AE516CB}"/>
              </a:ext>
            </a:extLst>
          </p:cNvPr>
          <p:cNvGrpSpPr/>
          <p:nvPr/>
        </p:nvGrpSpPr>
        <p:grpSpPr>
          <a:xfrm>
            <a:off x="7573708" y="589950"/>
            <a:ext cx="1898207" cy="1814847"/>
            <a:chOff x="4295544" y="-2024590"/>
            <a:chExt cx="2850431" cy="2919872"/>
          </a:xfrm>
        </p:grpSpPr>
        <p:sp>
          <p:nvSpPr>
            <p:cNvPr id="11" name="Rectangle: Rounded Corners 10">
              <a:extLst>
                <a:ext uri="{FF2B5EF4-FFF2-40B4-BE49-F238E27FC236}">
                  <a16:creationId xmlns:a16="http://schemas.microsoft.com/office/drawing/2014/main" id="{C5544FC7-8D55-F299-BAE3-A44D8DB9A70B}"/>
                </a:ext>
              </a:extLst>
            </p:cNvPr>
            <p:cNvSpPr/>
            <p:nvPr/>
          </p:nvSpPr>
          <p:spPr>
            <a:xfrm>
              <a:off x="4295544" y="-2024590"/>
              <a:ext cx="2850431" cy="2919872"/>
            </a:xfrm>
            <a:prstGeom prst="roundRect">
              <a:avLst>
                <a:gd name="adj" fmla="val 6088"/>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13" name="Picture 12">
              <a:extLst>
                <a:ext uri="{FF2B5EF4-FFF2-40B4-BE49-F238E27FC236}">
                  <a16:creationId xmlns:a16="http://schemas.microsoft.com/office/drawing/2014/main" id="{38F0BA43-A466-8992-B032-AFDF5B529F1D}"/>
                </a:ext>
              </a:extLst>
            </p:cNvPr>
            <p:cNvPicPr>
              <a:picLocks noChangeAspect="1"/>
            </p:cNvPicPr>
            <p:nvPr/>
          </p:nvPicPr>
          <p:blipFill>
            <a:blip r:embed="rId6">
              <a:extLst>
                <a:ext uri="{28A0092B-C50C-407E-A947-70E740481C1C}">
                  <a14:useLocalDpi xmlns:a14="http://schemas.microsoft.com/office/drawing/2010/main" val="0"/>
                </a:ext>
              </a:extLst>
            </a:blip>
            <a:srcRect l="997" r="997"/>
            <a:stretch/>
          </p:blipFill>
          <p:spPr>
            <a:xfrm>
              <a:off x="4490924" y="-1823228"/>
              <a:ext cx="2459669" cy="2509736"/>
            </a:xfrm>
            <a:prstGeom prst="roundRect">
              <a:avLst>
                <a:gd name="adj" fmla="val 0"/>
              </a:avLst>
            </a:prstGeom>
          </p:spPr>
        </p:pic>
      </p:grpSp>
      <p:pic>
        <p:nvPicPr>
          <p:cNvPr id="4" name="Picture 3" descr="Un logo blu e bianco  I contenuti generati dall'IA possono non essere corretti.">
            <a:extLst>
              <a:ext uri="{FF2B5EF4-FFF2-40B4-BE49-F238E27FC236}">
                <a16:creationId xmlns:a16="http://schemas.microsoft.com/office/drawing/2014/main" id="{A0B35316-8ADE-D3EF-20E2-EE92CE2648C8}"/>
              </a:ext>
            </a:extLst>
          </p:cNvPr>
          <p:cNvPicPr>
            <a:picLocks noChangeAspect="1"/>
          </p:cNvPicPr>
          <p:nvPr/>
        </p:nvPicPr>
        <p:blipFill>
          <a:blip r:embed="rId7" cstate="print">
            <a:extLst>
              <a:ext uri="{28A0092B-C50C-407E-A947-70E740481C1C}">
                <a14:useLocalDpi xmlns:a14="http://schemas.microsoft.com/office/drawing/2010/main" val="0"/>
              </a:ext>
            </a:extLst>
          </a:blip>
          <a:srcRect t="20984" b="12824"/>
          <a:stretch>
            <a:fillRect/>
          </a:stretch>
        </p:blipFill>
        <p:spPr>
          <a:xfrm>
            <a:off x="476755" y="184168"/>
            <a:ext cx="2952638" cy="732642"/>
          </a:xfrm>
          <a:prstGeom prst="roundRect">
            <a:avLst>
              <a:gd name="adj" fmla="val 10705"/>
            </a:avLst>
          </a:prstGeom>
        </p:spPr>
      </p:pic>
      <p:sp>
        <p:nvSpPr>
          <p:cNvPr id="28" name="TextBox 27">
            <a:extLst>
              <a:ext uri="{FF2B5EF4-FFF2-40B4-BE49-F238E27FC236}">
                <a16:creationId xmlns:a16="http://schemas.microsoft.com/office/drawing/2014/main" id="{FE6B5256-A4AC-ADD1-2C05-BCB00818CCF9}"/>
              </a:ext>
            </a:extLst>
          </p:cNvPr>
          <p:cNvSpPr txBox="1"/>
          <p:nvPr/>
        </p:nvSpPr>
        <p:spPr>
          <a:xfrm>
            <a:off x="7069559" y="2609195"/>
            <a:ext cx="4729014" cy="1756956"/>
          </a:xfrm>
          <a:prstGeom prst="rect">
            <a:avLst/>
          </a:prstGeom>
          <a:noFill/>
        </p:spPr>
        <p:txBody>
          <a:bodyPr wrap="square">
            <a:spAutoFit/>
          </a:bodyPr>
          <a:lstStyle/>
          <a:p>
            <a:pPr marL="628650" lvl="1" indent="-171450" eaLnBrk="0" fontAlgn="base" hangingPunct="0">
              <a:lnSpc>
                <a:spcPct val="150000"/>
              </a:lnSpc>
              <a:spcBef>
                <a:spcPct val="0"/>
              </a:spcBef>
              <a:spcAft>
                <a:spcPct val="0"/>
              </a:spcAft>
              <a:buFont typeface="Arial" panose="020B0604020202020204" pitchFamily="34" charset="0"/>
              <a:buChar char="•"/>
            </a:pPr>
            <a:r>
              <a:rPr lang="it-it" altLang="it-it" sz="1050" dirty="0">
                <a:cs typeface="Segoe UI"/>
              </a:rPr>
              <a:t>Aperto a tutti; nessun contenuto soggetto a NDA verrà condiviso </a:t>
            </a:r>
          </a:p>
          <a:p>
            <a:pPr marL="628650" lvl="1" indent="-171450" eaLnBrk="0" fontAlgn="base" hangingPunct="0">
              <a:lnSpc>
                <a:spcPct val="150000"/>
              </a:lnSpc>
              <a:spcBef>
                <a:spcPct val="0"/>
              </a:spcBef>
              <a:spcAft>
                <a:spcPct val="0"/>
              </a:spcAft>
              <a:buFont typeface="Arial" panose="020B0604020202020204" pitchFamily="34" charset="0"/>
              <a:buChar char="•"/>
            </a:pPr>
            <a:r>
              <a:rPr lang="it-it" altLang="it-it" sz="1050" dirty="0">
                <a:cs typeface="Segoe UI"/>
              </a:rPr>
              <a:t>Sessioni programmate nei fusi orari delle Americhe, Europa e Asia</a:t>
            </a:r>
          </a:p>
          <a:p>
            <a:pPr marL="628650" lvl="1" indent="-171450" eaLnBrk="0" fontAlgn="base" hangingPunct="0">
              <a:lnSpc>
                <a:spcPct val="150000"/>
              </a:lnSpc>
              <a:spcBef>
                <a:spcPct val="0"/>
              </a:spcBef>
              <a:spcAft>
                <a:spcPct val="0"/>
              </a:spcAft>
              <a:buFont typeface="Arial" panose="020B0604020202020204" pitchFamily="34" charset="0"/>
              <a:buChar char="•"/>
            </a:pPr>
            <a:r>
              <a:rPr lang="it-it" altLang="it-it" sz="1050" dirty="0">
                <a:cs typeface="Segoe UI"/>
              </a:rPr>
              <a:t>Le sessioni si tengono di solito il mercoledì alle 9:00. PT (non ricorrente)</a:t>
            </a:r>
          </a:p>
          <a:p>
            <a:pPr marL="628650" lvl="1" indent="-171450" eaLnBrk="0" fontAlgn="base" hangingPunct="0">
              <a:lnSpc>
                <a:spcPct val="150000"/>
              </a:lnSpc>
              <a:spcBef>
                <a:spcPct val="0"/>
              </a:spcBef>
              <a:spcAft>
                <a:spcPct val="0"/>
              </a:spcAft>
              <a:buFont typeface="Arial" panose="020B0604020202020204" pitchFamily="34" charset="0"/>
              <a:buChar char="•"/>
            </a:pPr>
            <a:r>
              <a:rPr lang="it-it" altLang="it-it" sz="1050" dirty="0">
                <a:cs typeface="Segoe UI"/>
              </a:rPr>
              <a:t>È necessaria la registrazione per assicurarsi un posto e partecipare.</a:t>
            </a:r>
          </a:p>
          <a:p>
            <a:pPr marL="628650" lvl="1" indent="-171450" eaLnBrk="0" fontAlgn="base" hangingPunct="0">
              <a:lnSpc>
                <a:spcPct val="150000"/>
              </a:lnSpc>
              <a:spcBef>
                <a:spcPct val="0"/>
              </a:spcBef>
              <a:spcAft>
                <a:spcPct val="0"/>
              </a:spcAft>
              <a:buFont typeface="Arial" panose="020B0604020202020204" pitchFamily="34" charset="0"/>
              <a:buChar char="•"/>
            </a:pPr>
            <a:r>
              <a:rPr lang="it-it" altLang="it-it" sz="1050" dirty="0">
                <a:cs typeface="Segoe UI"/>
              </a:rPr>
              <a:t>Sessioni registrate disponibili su YouTube per la visione </a:t>
            </a:r>
            <a:br>
              <a:rPr lang="it-it" altLang="it-it" sz="1050" dirty="0">
                <a:cs typeface="Segoe UI"/>
              </a:rPr>
            </a:br>
            <a:r>
              <a:rPr lang="it-it" altLang="it-it" sz="1050" dirty="0">
                <a:cs typeface="Segoe UI"/>
              </a:rPr>
              <a:t>on-demand</a:t>
            </a:r>
          </a:p>
        </p:txBody>
      </p:sp>
      <p:pic>
        <p:nvPicPr>
          <p:cNvPr id="2" name="Picture 1" descr="Un pulsante rosso e bianco con simbolo play  I contenuti generati dall'IA possono non essere corretti.">
            <a:extLst>
              <a:ext uri="{FF2B5EF4-FFF2-40B4-BE49-F238E27FC236}">
                <a16:creationId xmlns:a16="http://schemas.microsoft.com/office/drawing/2014/main" id="{76D72AA7-96CF-730F-59C0-035A3ED59F71}"/>
              </a:ext>
            </a:extLst>
          </p:cNvPr>
          <p:cNvPicPr>
            <a:picLocks noChangeAspect="1"/>
          </p:cNvPicPr>
          <p:nvPr/>
        </p:nvPicPr>
        <p:blipFill>
          <a:blip r:embed="rId8"/>
          <a:stretch>
            <a:fillRect/>
          </a:stretch>
        </p:blipFill>
        <p:spPr>
          <a:xfrm>
            <a:off x="-36286" y="6195785"/>
            <a:ext cx="1034144" cy="716644"/>
          </a:xfrm>
          <a:prstGeom prst="rect">
            <a:avLst/>
          </a:prstGeom>
        </p:spPr>
      </p:pic>
      <p:pic>
        <p:nvPicPr>
          <p:cNvPr id="7" name="Picture 6">
            <a:extLst>
              <a:ext uri="{FF2B5EF4-FFF2-40B4-BE49-F238E27FC236}">
                <a16:creationId xmlns:a16="http://schemas.microsoft.com/office/drawing/2014/main" id="{F87B4941-232E-9058-4626-D4B51F53F4FC}"/>
              </a:ext>
            </a:extLst>
          </p:cNvPr>
          <p:cNvPicPr>
            <a:picLocks noChangeAspect="1"/>
          </p:cNvPicPr>
          <p:nvPr/>
        </p:nvPicPr>
        <p:blipFill>
          <a:blip r:embed="rId9"/>
          <a:stretch>
            <a:fillRect/>
          </a:stretch>
        </p:blipFill>
        <p:spPr>
          <a:xfrm>
            <a:off x="393427" y="1916325"/>
            <a:ext cx="6816503" cy="3915333"/>
          </a:xfrm>
          <a:prstGeom prst="rect">
            <a:avLst/>
          </a:prstGeom>
        </p:spPr>
      </p:pic>
    </p:spTree>
    <p:extLst>
      <p:ext uri="{BB962C8B-B14F-4D97-AF65-F5344CB8AC3E}">
        <p14:creationId xmlns:p14="http://schemas.microsoft.com/office/powerpoint/2010/main" val="38741482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688E44F8-F2FF-C742-C65E-7EA97E1613CB}"/>
              </a:ext>
            </a:extLst>
          </p:cNvPr>
          <p:cNvSpPr/>
          <p:nvPr/>
        </p:nvSpPr>
        <p:spPr bwMode="auto">
          <a:xfrm>
            <a:off x="293685" y="296080"/>
            <a:ext cx="11310052" cy="886118"/>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 name="Title 3">
            <a:extLst>
              <a:ext uri="{FF2B5EF4-FFF2-40B4-BE49-F238E27FC236}">
                <a16:creationId xmlns:a16="http://schemas.microsoft.com/office/drawing/2014/main" id="{F75B8637-3662-EE05-AF3D-F3C9E1F01AF2}"/>
              </a:ext>
            </a:extLst>
          </p:cNvPr>
          <p:cNvSpPr>
            <a:spLocks noGrp="1"/>
          </p:cNvSpPr>
          <p:nvPr>
            <p:ph type="title"/>
          </p:nvPr>
        </p:nvSpPr>
        <p:spPr/>
        <p:txBody>
          <a:bodyPr>
            <a:normAutofit/>
          </a:bodyPr>
          <a:lstStyle/>
          <a:p>
            <a:r>
              <a:rPr lang="it-it">
                <a:solidFill>
                  <a:srgbClr val="091F2C"/>
                </a:solidFill>
                <a:latin typeface="Segoe Sans Display Semibold"/>
                <a:cs typeface="Segoe Sans Display Semibold"/>
              </a:rPr>
              <a:t>Aggiungi le credenziali Agents al tuo curriculum</a:t>
            </a:r>
          </a:p>
        </p:txBody>
      </p:sp>
      <p:pic>
        <p:nvPicPr>
          <p:cNvPr id="9" name="Picture 8">
            <a:extLst>
              <a:ext uri="{FF2B5EF4-FFF2-40B4-BE49-F238E27FC236}">
                <a16:creationId xmlns:a16="http://schemas.microsoft.com/office/drawing/2014/main" id="{F7A26F71-4113-00BC-3BEA-AF974BA34ECF}"/>
              </a:ext>
            </a:extLst>
          </p:cNvPr>
          <p:cNvPicPr>
            <a:picLocks noChangeAspect="1"/>
          </p:cNvPicPr>
          <p:nvPr/>
        </p:nvPicPr>
        <p:blipFill>
          <a:blip r:embed="rId3"/>
          <a:srcRect r="6567"/>
          <a:stretch>
            <a:fillRect/>
          </a:stretch>
        </p:blipFill>
        <p:spPr>
          <a:xfrm>
            <a:off x="5854535" y="1718887"/>
            <a:ext cx="457200" cy="494433"/>
          </a:xfrm>
          <a:prstGeom prst="rect">
            <a:avLst/>
          </a:prstGeom>
        </p:spPr>
      </p:pic>
      <p:pic>
        <p:nvPicPr>
          <p:cNvPr id="8" name="Picture 7">
            <a:extLst>
              <a:ext uri="{FF2B5EF4-FFF2-40B4-BE49-F238E27FC236}">
                <a16:creationId xmlns:a16="http://schemas.microsoft.com/office/drawing/2014/main" id="{9E9F2C78-262A-5503-38BD-A9B680EAED87}"/>
              </a:ext>
            </a:extLst>
          </p:cNvPr>
          <p:cNvPicPr>
            <a:picLocks noChangeAspect="1"/>
          </p:cNvPicPr>
          <p:nvPr/>
        </p:nvPicPr>
        <p:blipFill>
          <a:blip r:embed="rId4"/>
          <a:stretch>
            <a:fillRect/>
          </a:stretch>
        </p:blipFill>
        <p:spPr>
          <a:xfrm>
            <a:off x="612531" y="1815556"/>
            <a:ext cx="457200" cy="457200"/>
          </a:xfrm>
          <a:prstGeom prst="rect">
            <a:avLst/>
          </a:prstGeom>
        </p:spPr>
      </p:pic>
      <p:sp>
        <p:nvSpPr>
          <p:cNvPr id="14" name="TextBox 13">
            <a:extLst>
              <a:ext uri="{FF2B5EF4-FFF2-40B4-BE49-F238E27FC236}">
                <a16:creationId xmlns:a16="http://schemas.microsoft.com/office/drawing/2014/main" id="{E19F1042-14AC-1C9F-6BDF-638B5198AEE0}"/>
              </a:ext>
            </a:extLst>
          </p:cNvPr>
          <p:cNvSpPr txBox="1"/>
          <p:nvPr/>
        </p:nvSpPr>
        <p:spPr>
          <a:xfrm>
            <a:off x="6566915" y="1669706"/>
            <a:ext cx="365760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prstClr val="black"/>
                </a:solidFill>
                <a:effectLst/>
                <a:uLnTx/>
                <a:uFillTx/>
                <a:latin typeface="Aptos" panose="020B0004020202020204"/>
                <a:ea typeface="+mn-ea"/>
                <a:cs typeface="+mn-cs"/>
              </a:rPr>
              <a:t>Certificazione</a:t>
            </a:r>
            <a:r>
              <a:rPr kumimoji="0" lang="it-it" sz="1200" b="0" i="0" u="none" strike="noStrike" kern="1200" cap="none" spc="0" normalizeH="0" baseline="0" noProof="0">
                <a:ln>
                  <a:noFill/>
                </a:ln>
                <a:solidFill>
                  <a:prstClr val="black"/>
                </a:solidFill>
                <a:effectLst/>
                <a:uLnTx/>
                <a:uFillTx/>
                <a:latin typeface="Aptos" panose="020B0004020202020204"/>
                <a:ea typeface="+mn-ea"/>
                <a:cs typeface="+mn-cs"/>
              </a:rPr>
              <a:t> | </a:t>
            </a:r>
            <a:r>
              <a:rPr kumimoji="0" lang="it-it" sz="1200" b="0" i="0" u="none" strike="noStrike" kern="1200" cap="none" spc="0" normalizeH="0" baseline="0" noProof="0">
                <a:ln>
                  <a:noFill/>
                </a:ln>
                <a:solidFill>
                  <a:srgbClr val="000000"/>
                </a:solidFill>
                <a:effectLst/>
                <a:uLnTx/>
                <a:uFillTx/>
                <a:latin typeface="Segoe UI"/>
                <a:ea typeface="+mn-ea"/>
                <a:cs typeface="+mn-cs"/>
              </a:rPr>
              <a:t>Credenziali riconosciute nel settore che convalidano la competenza per ruoli lavorativi che utilizzano tecnologie Microsoft, ottenute attraverso esami rigorosi e sorvegliati.</a:t>
            </a:r>
            <a:r>
              <a:rPr kumimoji="0" lang="it-it" sz="1200" b="0" i="0" u="none" strike="noStrike" kern="1200" cap="none" spc="0" normalizeH="0" baseline="0" noProof="0">
                <a:ln>
                  <a:noFill/>
                </a:ln>
                <a:solidFill>
                  <a:prstClr val="black"/>
                </a:solidFill>
                <a:effectLst/>
                <a:uLnTx/>
                <a:uFillTx/>
                <a:latin typeface="Aptos" panose="020B0004020202020204"/>
                <a:ea typeface="+mn-ea"/>
                <a:cs typeface="+mn-cs"/>
              </a:rPr>
              <a:t>  </a:t>
            </a:r>
          </a:p>
        </p:txBody>
      </p:sp>
      <p:sp>
        <p:nvSpPr>
          <p:cNvPr id="15" name="TextBox 14">
            <a:extLst>
              <a:ext uri="{FF2B5EF4-FFF2-40B4-BE49-F238E27FC236}">
                <a16:creationId xmlns:a16="http://schemas.microsoft.com/office/drawing/2014/main" id="{FC2B0799-890D-8E97-A96C-F2BEEB3ED9A3}"/>
              </a:ext>
            </a:extLst>
          </p:cNvPr>
          <p:cNvSpPr txBox="1"/>
          <p:nvPr/>
        </p:nvSpPr>
        <p:spPr>
          <a:xfrm>
            <a:off x="1313029" y="1744236"/>
            <a:ext cx="3657600"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Aptos" panose="020B0004020202020204"/>
                <a:ea typeface="+mn-ea"/>
                <a:cs typeface="+mn-cs"/>
              </a:rPr>
              <a:t>Abilità applicata</a:t>
            </a:r>
            <a:r>
              <a:rPr kumimoji="0" lang="it-it" sz="1200" b="0" i="0" u="none" strike="noStrike" kern="1200" cap="none" spc="0" normalizeH="0" baseline="0" noProof="0" dirty="0">
                <a:ln>
                  <a:noFill/>
                </a:ln>
                <a:solidFill>
                  <a:prstClr val="black"/>
                </a:solidFill>
                <a:effectLst/>
                <a:uLnTx/>
                <a:uFillTx/>
                <a:latin typeface="Aptos" panose="020B0004020202020204"/>
                <a:ea typeface="+mn-ea"/>
                <a:cs typeface="+mn-cs"/>
              </a:rPr>
              <a:t> | Micro-credenziali disponibili su richiesta che </a:t>
            </a:r>
            <a:r>
              <a:rPr kumimoji="0" lang="it-it" sz="1200" b="0" i="0" u="none" strike="noStrike" kern="1200" cap="none" spc="0" normalizeH="0" baseline="0" noProof="0" dirty="0">
                <a:ln>
                  <a:noFill/>
                </a:ln>
                <a:solidFill>
                  <a:srgbClr val="000000"/>
                </a:solidFill>
                <a:effectLst/>
                <a:uLnTx/>
                <a:uFillTx/>
                <a:latin typeface="Segoe UI"/>
                <a:ea typeface="+mn-ea"/>
                <a:cs typeface="+mn-cs"/>
              </a:rPr>
              <a:t>certificano la padronanza pratica in scenari specifici e rilevanti per il lavoro attraverso </a:t>
            </a:r>
            <a:br>
              <a:rPr kumimoji="0" lang="it-it" sz="1200" b="0" i="0" u="none" strike="noStrike" kern="1200" cap="none" spc="0" normalizeH="0" baseline="0" noProof="0" dirty="0">
                <a:ln>
                  <a:noFill/>
                </a:ln>
                <a:solidFill>
                  <a:srgbClr val="000000"/>
                </a:solidFill>
                <a:effectLst/>
                <a:uLnTx/>
                <a:uFillTx/>
                <a:latin typeface="Segoe UI"/>
                <a:ea typeface="+mn-ea"/>
                <a:cs typeface="+mn-cs"/>
              </a:rPr>
            </a:br>
            <a:r>
              <a:rPr kumimoji="0" lang="it-it" sz="1200" b="0" i="0" u="none" strike="noStrike" kern="1200" cap="none" spc="0" normalizeH="0" baseline="0" noProof="0" dirty="0">
                <a:ln>
                  <a:noFill/>
                </a:ln>
                <a:solidFill>
                  <a:srgbClr val="000000"/>
                </a:solidFill>
                <a:effectLst/>
                <a:uLnTx/>
                <a:uFillTx/>
                <a:latin typeface="Segoe UI"/>
                <a:ea typeface="+mn-ea"/>
                <a:cs typeface="+mn-cs"/>
              </a:rPr>
              <a:t>brevi valutazioni interattive in laboratorio.</a:t>
            </a:r>
            <a:endParaRPr kumimoji="0" lang="en-US" sz="1200" b="0" i="0" u="none" strike="noStrike" kern="1200" cap="none" spc="0" normalizeH="0" baseline="0" noProof="0" dirty="0">
              <a:ln>
                <a:noFill/>
              </a:ln>
              <a:solidFill>
                <a:prstClr val="black"/>
              </a:solidFill>
              <a:effectLst/>
              <a:uLnTx/>
              <a:uFillTx/>
              <a:latin typeface="Aptos" panose="020B0004020202020204"/>
              <a:ea typeface="+mn-ea"/>
              <a:cs typeface="+mn-cs"/>
            </a:endParaRPr>
          </a:p>
        </p:txBody>
      </p:sp>
      <p:sp>
        <p:nvSpPr>
          <p:cNvPr id="7" name="Arrow: Bent 16">
            <a:extLst>
              <a:ext uri="{FF2B5EF4-FFF2-40B4-BE49-F238E27FC236}">
                <a16:creationId xmlns:a16="http://schemas.microsoft.com/office/drawing/2014/main" id="{0B583F74-D6E0-C093-FCF2-DA44F66DB8E6}"/>
              </a:ext>
              <a:ext uri="{C183D7F6-B498-43B3-948B-1728B52AA6E4}">
                <adec:decorative xmlns:adec="http://schemas.microsoft.com/office/drawing/2017/decorative" val="1"/>
              </a:ext>
            </a:extLst>
          </p:cNvPr>
          <p:cNvSpPr/>
          <p:nvPr/>
        </p:nvSpPr>
        <p:spPr bwMode="auto">
          <a:xfrm rot="16200000" flipV="1">
            <a:off x="7393885" y="-3127815"/>
            <a:ext cx="1742957" cy="7338191"/>
          </a:xfrm>
          <a:prstGeom prst="bentArrow">
            <a:avLst>
              <a:gd name="adj1" fmla="val 25000"/>
              <a:gd name="adj2" fmla="val 0"/>
              <a:gd name="adj3" fmla="val 25000"/>
              <a:gd name="adj4" fmla="val 12216"/>
            </a:avLst>
          </a:prstGeom>
          <a:solidFill>
            <a:schemeClr val="accent1"/>
          </a:solidFill>
          <a:ln w="63500">
            <a:solidFill>
              <a:srgbClr val="EC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0" name="Arrow: Bent 16">
            <a:extLst>
              <a:ext uri="{FF2B5EF4-FFF2-40B4-BE49-F238E27FC236}">
                <a16:creationId xmlns:a16="http://schemas.microsoft.com/office/drawing/2014/main" id="{E0DA1190-F6D8-30E2-DA21-B8D733FF2537}"/>
              </a:ext>
              <a:ext uri="{C183D7F6-B498-43B3-948B-1728B52AA6E4}">
                <adec:decorative xmlns:adec="http://schemas.microsoft.com/office/drawing/2017/decorative" val="1"/>
              </a:ext>
            </a:extLst>
          </p:cNvPr>
          <p:cNvSpPr/>
          <p:nvPr/>
        </p:nvSpPr>
        <p:spPr bwMode="auto">
          <a:xfrm rot="10800000" flipH="1" flipV="1">
            <a:off x="293688" y="1412760"/>
            <a:ext cx="5560847" cy="3517319"/>
          </a:xfrm>
          <a:prstGeom prst="bentArrow">
            <a:avLst>
              <a:gd name="adj1" fmla="val 25000"/>
              <a:gd name="adj2" fmla="val 0"/>
              <a:gd name="adj3" fmla="val 25000"/>
              <a:gd name="adj4" fmla="val 4483"/>
            </a:avLst>
          </a:prstGeom>
          <a:solidFill>
            <a:schemeClr val="accent1"/>
          </a:solidFill>
          <a:ln w="63500">
            <a:solidFill>
              <a:srgbClr val="EC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2" name="Arrow: Bent 16">
            <a:extLst>
              <a:ext uri="{FF2B5EF4-FFF2-40B4-BE49-F238E27FC236}">
                <a16:creationId xmlns:a16="http://schemas.microsoft.com/office/drawing/2014/main" id="{94F52D39-386D-35FA-F8A1-CE23AF7215EE}"/>
              </a:ext>
              <a:ext uri="{C183D7F6-B498-43B3-948B-1728B52AA6E4}">
                <adec:decorative xmlns:adec="http://schemas.microsoft.com/office/drawing/2017/decorative" val="1"/>
              </a:ext>
            </a:extLst>
          </p:cNvPr>
          <p:cNvSpPr/>
          <p:nvPr/>
        </p:nvSpPr>
        <p:spPr bwMode="auto">
          <a:xfrm rot="16200000" flipV="1">
            <a:off x="-1193867" y="5079632"/>
            <a:ext cx="2682155" cy="293689"/>
          </a:xfrm>
          <a:prstGeom prst="bentArrow">
            <a:avLst>
              <a:gd name="adj1" fmla="val 25000"/>
              <a:gd name="adj2" fmla="val 0"/>
              <a:gd name="adj3" fmla="val 25000"/>
              <a:gd name="adj4" fmla="val 36333"/>
            </a:avLst>
          </a:prstGeom>
          <a:solidFill>
            <a:schemeClr val="accent1"/>
          </a:solidFill>
          <a:ln w="63500">
            <a:solidFill>
              <a:srgbClr val="EC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TextBox 2">
            <a:hlinkClick r:id="rId5"/>
            <a:extLst>
              <a:ext uri="{FF2B5EF4-FFF2-40B4-BE49-F238E27FC236}">
                <a16:creationId xmlns:a16="http://schemas.microsoft.com/office/drawing/2014/main" id="{8AD209CF-214B-07BD-5F12-58D0B6954692}"/>
              </a:ext>
            </a:extLst>
          </p:cNvPr>
          <p:cNvSpPr txBox="1"/>
          <p:nvPr/>
        </p:nvSpPr>
        <p:spPr>
          <a:xfrm>
            <a:off x="707859" y="5133133"/>
            <a:ext cx="4574611" cy="1143000"/>
          </a:xfrm>
          <a:prstGeom prst="roundRect">
            <a:avLst>
              <a:gd name="adj" fmla="val 8753"/>
            </a:avLst>
          </a:prstGeom>
          <a:solidFill>
            <a:schemeClr val="bg1"/>
          </a:solidFill>
          <a:ln w="3175">
            <a:solidFill>
              <a:schemeClr val="bg1">
                <a:lumMod val="65000"/>
              </a:schemeClr>
            </a:solidFill>
          </a:ln>
          <a:effectLst>
            <a:outerShdw blurRad="609600" dist="38100" dir="8100000" sx="101000" sy="101000" algn="tr"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defPPr>
              <a:defRPr lang="en-US"/>
            </a:defPPr>
            <a:lvl1pPr marL="292100" marR="0" lvl="0" indent="0" defTabSz="932742" fontAlgn="auto">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kumimoji="0" lang="it-it" sz="1000" b="1" i="0" u="none" strike="noStrike" kern="1200" cap="none" spc="0" normalizeH="0" baseline="0" noProof="0">
                <a:ln>
                  <a:noFill/>
                </a:ln>
                <a:solidFill>
                  <a:srgbClr val="000000"/>
                </a:solidFill>
                <a:effectLst/>
                <a:uLnTx/>
                <a:uFillTx/>
                <a:latin typeface="+mn-lt"/>
                <a:ea typeface="+mn-ea"/>
                <a:cs typeface="+mn-cs"/>
                <a:hlinkClick r:id="rId6"/>
              </a:rPr>
              <a:t>Estendi M365 Copilot con agenti dichiarativi utilizzando VS Code </a:t>
            </a:r>
            <a:r>
              <a:rPr kumimoji="0" lang="it-it" sz="1000" b="0" i="0" u="none" strike="noStrike" kern="1200" cap="none" spc="0" normalizeH="0" baseline="0" noProof="0">
                <a:ln>
                  <a:noFill/>
                </a:ln>
                <a:solidFill>
                  <a:srgbClr val="000000"/>
                </a:solidFill>
                <a:effectLst/>
                <a:uLnTx/>
                <a:uFillTx/>
                <a:latin typeface="+mn-lt"/>
                <a:ea typeface="+mn-ea"/>
                <a:cs typeface="+mn-cs"/>
                <a:hlinkClick r:id="rId6"/>
              </a:rPr>
              <a:t>​</a:t>
            </a:r>
            <a:br/>
            <a:r>
              <a:rPr lang="it-it" sz="1000">
                <a:latin typeface="+mn-lt"/>
              </a:rPr>
              <a:t>Dimostra la capacità di creare agenti dichiarativi per Microsoft 365 Copilot in VS Code, definendo prompt, definizione del contesto, azioni, connettori e pacchetti di distribuzione aziendale per workflow reali.</a:t>
            </a:r>
            <a:endParaRPr kumimoji="0" lang="en-US" sz="1000" b="0" i="0" u="none" strike="noStrike" kern="1200" cap="none" spc="0" normalizeH="0" baseline="0" noProof="0">
              <a:ln>
                <a:noFill/>
              </a:ln>
              <a:solidFill>
                <a:srgbClr val="000000"/>
              </a:solidFill>
              <a:effectLst/>
              <a:uLnTx/>
              <a:uFillTx/>
              <a:latin typeface="+mn-lt"/>
              <a:ea typeface="+mn-ea"/>
              <a:cs typeface="+mn-cs"/>
            </a:endParaRPr>
          </a:p>
        </p:txBody>
      </p:sp>
      <p:pic>
        <p:nvPicPr>
          <p:cNvPr id="5" name="Picture 4">
            <a:extLst>
              <a:ext uri="{FF2B5EF4-FFF2-40B4-BE49-F238E27FC236}">
                <a16:creationId xmlns:a16="http://schemas.microsoft.com/office/drawing/2014/main" id="{3CBB2978-D1D6-647A-8CD5-9F9F5CE86FB3}"/>
              </a:ext>
            </a:extLst>
          </p:cNvPr>
          <p:cNvPicPr>
            <a:picLocks noChangeAspect="1"/>
          </p:cNvPicPr>
          <p:nvPr/>
        </p:nvPicPr>
        <p:blipFill>
          <a:blip r:embed="rId4"/>
          <a:stretch>
            <a:fillRect/>
          </a:stretch>
        </p:blipFill>
        <p:spPr>
          <a:xfrm>
            <a:off x="747166" y="5347556"/>
            <a:ext cx="320040" cy="320040"/>
          </a:xfrm>
          <a:prstGeom prst="rect">
            <a:avLst/>
          </a:prstGeom>
        </p:spPr>
      </p:pic>
      <p:sp>
        <p:nvSpPr>
          <p:cNvPr id="19" name="TextBox 18">
            <a:hlinkClick r:id="rId5"/>
            <a:extLst>
              <a:ext uri="{FF2B5EF4-FFF2-40B4-BE49-F238E27FC236}">
                <a16:creationId xmlns:a16="http://schemas.microsoft.com/office/drawing/2014/main" id="{C642E286-108A-4F1D-4BBF-C0D59EAA86BE}"/>
              </a:ext>
            </a:extLst>
          </p:cNvPr>
          <p:cNvSpPr txBox="1"/>
          <p:nvPr/>
        </p:nvSpPr>
        <p:spPr>
          <a:xfrm>
            <a:off x="5917581" y="2629710"/>
            <a:ext cx="4574611" cy="1143000"/>
          </a:xfrm>
          <a:prstGeom prst="roundRect">
            <a:avLst>
              <a:gd name="adj" fmla="val 8753"/>
            </a:avLst>
          </a:prstGeom>
          <a:solidFill>
            <a:schemeClr val="bg1"/>
          </a:solidFill>
          <a:ln w="3175">
            <a:solidFill>
              <a:schemeClr val="bg1">
                <a:lumMod val="65000"/>
              </a:schemeClr>
            </a:solidFill>
          </a:ln>
          <a:effectLst>
            <a:outerShdw blurRad="609600" dist="38100" dir="8100000" sx="101000" sy="101000" algn="tr"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defPPr>
              <a:defRPr lang="en-US"/>
            </a:defPPr>
            <a:lvl1pPr marL="292100" marR="0" lvl="0" indent="0" defTabSz="932742" fontAlgn="auto">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it-it" sz="1000" b="1" dirty="0">
                <a:latin typeface="+mn-lt"/>
                <a:hlinkClick r:id="rId7"/>
              </a:rPr>
              <a:t>AB-900: Microsoft 365 Copilot e Fondamenti di amministrazione degli agenti</a:t>
            </a:r>
            <a:br>
              <a:rPr lang="it-it" sz="1000" b="1" dirty="0">
                <a:latin typeface="+mn-lt"/>
              </a:rPr>
            </a:br>
            <a:r>
              <a:rPr lang="it-it" sz="1000" dirty="0">
                <a:latin typeface="+mn-lt"/>
              </a:rPr>
              <a:t>Certificazione fondamentale su Microsoft 365 Copilot e amministrazione degli agenti, che copre concetti, licenze, governance, sicurezza, controllo dei dati e amministrazione nelle principali piattaforme come Entra, Purview, Teams, Exchange e SharePoint Online.</a:t>
            </a:r>
            <a:endParaRPr lang="en-US" sz="1000" b="1" dirty="0">
              <a:latin typeface="+mn-lt"/>
            </a:endParaRPr>
          </a:p>
        </p:txBody>
      </p:sp>
      <p:pic>
        <p:nvPicPr>
          <p:cNvPr id="20" name="Picture 19">
            <a:extLst>
              <a:ext uri="{FF2B5EF4-FFF2-40B4-BE49-F238E27FC236}">
                <a16:creationId xmlns:a16="http://schemas.microsoft.com/office/drawing/2014/main" id="{BFD87C07-AA73-2744-FE7B-CC4BC333C558}"/>
              </a:ext>
            </a:extLst>
          </p:cNvPr>
          <p:cNvPicPr>
            <a:picLocks noChangeAspect="1"/>
          </p:cNvPicPr>
          <p:nvPr/>
        </p:nvPicPr>
        <p:blipFill rotWithShape="1">
          <a:blip r:embed="rId3"/>
          <a:srcRect t="516" b="516"/>
          <a:stretch>
            <a:fillRect/>
          </a:stretch>
        </p:blipFill>
        <p:spPr>
          <a:xfrm>
            <a:off x="5985821" y="2727790"/>
            <a:ext cx="324069" cy="324069"/>
          </a:xfrm>
          <a:prstGeom prst="rect">
            <a:avLst/>
          </a:prstGeom>
        </p:spPr>
      </p:pic>
      <p:sp>
        <p:nvSpPr>
          <p:cNvPr id="21" name="TextBox 20">
            <a:hlinkClick r:id="rId5"/>
            <a:extLst>
              <a:ext uri="{FF2B5EF4-FFF2-40B4-BE49-F238E27FC236}">
                <a16:creationId xmlns:a16="http://schemas.microsoft.com/office/drawing/2014/main" id="{20583BD8-62C2-2577-2297-9D653980CE9B}"/>
              </a:ext>
            </a:extLst>
          </p:cNvPr>
          <p:cNvSpPr txBox="1"/>
          <p:nvPr/>
        </p:nvSpPr>
        <p:spPr>
          <a:xfrm>
            <a:off x="5917581" y="3899436"/>
            <a:ext cx="4574611" cy="1143000"/>
          </a:xfrm>
          <a:prstGeom prst="roundRect">
            <a:avLst>
              <a:gd name="adj" fmla="val 8753"/>
            </a:avLst>
          </a:prstGeom>
          <a:solidFill>
            <a:schemeClr val="bg1"/>
          </a:solidFill>
          <a:ln w="3175">
            <a:solidFill>
              <a:schemeClr val="bg1">
                <a:lumMod val="65000"/>
              </a:schemeClr>
            </a:solidFill>
          </a:ln>
          <a:effectLst>
            <a:outerShdw blurRad="609600" dist="38100" dir="8100000" sx="101000" sy="101000" algn="tr"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defPPr>
              <a:defRPr lang="en-US"/>
            </a:defPPr>
            <a:lvl1pPr marL="292100" marR="0" lvl="0" indent="0" defTabSz="932742" fontAlgn="auto">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kumimoji="0" lang="it-it" sz="1000" b="1" i="0" u="none" strike="noStrike" kern="1200" cap="none" spc="0" normalizeH="0" baseline="0" noProof="0" dirty="0">
                <a:ln>
                  <a:noFill/>
                </a:ln>
                <a:solidFill>
                  <a:srgbClr val="000000"/>
                </a:solidFill>
                <a:effectLst/>
                <a:uLnTx/>
                <a:uFillTx/>
                <a:latin typeface="+mn-lt"/>
                <a:ea typeface="+mn-ea"/>
                <a:cs typeface="+mn-cs"/>
                <a:hlinkClick r:id="rId8"/>
              </a:rPr>
              <a:t>AB-100 Architetto di soluzioni aziendali di intelligenza </a:t>
            </a:r>
            <a:br>
              <a:rPr kumimoji="0" lang="it-it" sz="1000" b="1" i="0" u="none" strike="noStrike" kern="1200" cap="none" spc="0" normalizeH="0" baseline="0" noProof="0" dirty="0">
                <a:ln>
                  <a:noFill/>
                </a:ln>
                <a:solidFill>
                  <a:srgbClr val="000000"/>
                </a:solidFill>
                <a:effectLst/>
                <a:uLnTx/>
                <a:uFillTx/>
                <a:latin typeface="+mn-lt"/>
                <a:ea typeface="+mn-ea"/>
                <a:cs typeface="+mn-cs"/>
                <a:hlinkClick r:id="rId8"/>
              </a:rPr>
            </a:br>
            <a:r>
              <a:rPr kumimoji="0" lang="it-it" sz="1000" b="1" i="0" u="none" strike="noStrike" kern="1200" cap="none" spc="0" normalizeH="0" baseline="0" noProof="0" dirty="0">
                <a:ln>
                  <a:noFill/>
                </a:ln>
                <a:solidFill>
                  <a:srgbClr val="000000"/>
                </a:solidFill>
                <a:effectLst/>
                <a:uLnTx/>
                <a:uFillTx/>
                <a:latin typeface="+mn-lt"/>
                <a:ea typeface="+mn-ea"/>
                <a:cs typeface="+mn-cs"/>
                <a:hlinkClick r:id="rId8"/>
              </a:rPr>
              <a:t>artificiale agentica</a:t>
            </a:r>
            <a:br>
              <a:rPr kumimoji="0" lang="it-it" sz="1000" b="1" i="0" u="none" strike="noStrike" kern="1200" cap="none" spc="0" normalizeH="0" baseline="0" noProof="0" dirty="0">
                <a:ln>
                  <a:noFill/>
                </a:ln>
                <a:solidFill>
                  <a:srgbClr val="000000"/>
                </a:solidFill>
                <a:effectLst/>
                <a:uLnTx/>
                <a:uFillTx/>
                <a:latin typeface="+mn-lt"/>
                <a:ea typeface="+mn-ea"/>
                <a:cs typeface="+mn-cs"/>
              </a:rPr>
            </a:br>
            <a:r>
              <a:rPr lang="it-it" sz="1000" dirty="0">
                <a:latin typeface="+mn-lt"/>
              </a:rPr>
              <a:t>Certificazione professionale per architetti che progettano soluzioni aziendali di intelligenza artificiale agentica: requisiti, architettura, integrazione, governance, sicurezza, valutazione e operativizzazione </a:t>
            </a:r>
            <a:br>
              <a:rPr lang="it-it" sz="1000" dirty="0">
                <a:latin typeface="+mn-lt"/>
              </a:rPr>
            </a:br>
            <a:r>
              <a:rPr lang="it-it" sz="1000" dirty="0">
                <a:latin typeface="+mn-lt"/>
              </a:rPr>
              <a:t>di Copilot e degli agenti su larga scala a livello globale.</a:t>
            </a: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p:txBody>
      </p:sp>
      <p:pic>
        <p:nvPicPr>
          <p:cNvPr id="22" name="Picture 21">
            <a:extLst>
              <a:ext uri="{FF2B5EF4-FFF2-40B4-BE49-F238E27FC236}">
                <a16:creationId xmlns:a16="http://schemas.microsoft.com/office/drawing/2014/main" id="{EF8F98B7-4DD8-BE71-896C-11A867831FCD}"/>
              </a:ext>
            </a:extLst>
          </p:cNvPr>
          <p:cNvPicPr>
            <a:picLocks noChangeAspect="1"/>
          </p:cNvPicPr>
          <p:nvPr/>
        </p:nvPicPr>
        <p:blipFill rotWithShape="1">
          <a:blip r:embed="rId3"/>
          <a:srcRect t="516" b="516"/>
          <a:stretch>
            <a:fillRect/>
          </a:stretch>
        </p:blipFill>
        <p:spPr>
          <a:xfrm>
            <a:off x="5993113" y="4023830"/>
            <a:ext cx="324069" cy="324069"/>
          </a:xfrm>
          <a:prstGeom prst="rect">
            <a:avLst/>
          </a:prstGeom>
        </p:spPr>
      </p:pic>
      <p:sp>
        <p:nvSpPr>
          <p:cNvPr id="23" name="TextBox 22">
            <a:hlinkClick r:id="rId5"/>
            <a:extLst>
              <a:ext uri="{FF2B5EF4-FFF2-40B4-BE49-F238E27FC236}">
                <a16:creationId xmlns:a16="http://schemas.microsoft.com/office/drawing/2014/main" id="{F52E9375-83F9-1E1D-F618-FEEF48DDA7D8}"/>
              </a:ext>
            </a:extLst>
          </p:cNvPr>
          <p:cNvSpPr txBox="1"/>
          <p:nvPr/>
        </p:nvSpPr>
        <p:spPr>
          <a:xfrm>
            <a:off x="707859" y="2629710"/>
            <a:ext cx="4574611" cy="1143000"/>
          </a:xfrm>
          <a:prstGeom prst="roundRect">
            <a:avLst>
              <a:gd name="adj" fmla="val 8753"/>
            </a:avLst>
          </a:prstGeom>
          <a:solidFill>
            <a:schemeClr val="bg1"/>
          </a:solidFill>
          <a:ln w="3175">
            <a:solidFill>
              <a:schemeClr val="bg1">
                <a:lumMod val="65000"/>
              </a:schemeClr>
            </a:solidFill>
          </a:ln>
          <a:effectLst>
            <a:outerShdw blurRad="609600" dist="38100" dir="8100000" sx="101000" sy="101000" algn="tr"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defPPr>
              <a:defRPr lang="en-US"/>
            </a:defPPr>
            <a:lvl1pPr marR="0" lvl="0" indent="0" defTabSz="932742" fontAlgn="auto">
              <a:lnSpc>
                <a:spcPct val="100000"/>
              </a:lnSpc>
              <a:spcBef>
                <a:spcPts val="0"/>
              </a:spcBef>
              <a:spcAft>
                <a:spcPts val="0"/>
              </a:spcAft>
              <a:buClrTx/>
              <a:buSzTx/>
              <a:buFontTx/>
              <a:buNone/>
              <a:tabLst/>
              <a:defRPr kumimoji="0" sz="900" b="1" i="0" u="none" strike="noStrike" cap="none" spc="0" normalizeH="0" baseline="0">
                <a:ln>
                  <a:noFill/>
                </a:ln>
                <a:solidFill>
                  <a:schemeClr val="tx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92100" lvl="0">
              <a:defRPr/>
            </a:pPr>
            <a:r>
              <a:rPr kumimoji="0" lang="it-it" sz="1000" i="0" u="none" strike="noStrike" kern="1200" cap="none" spc="0" normalizeH="0" baseline="0" noProof="0" dirty="0">
                <a:ln>
                  <a:noFill/>
                </a:ln>
                <a:solidFill>
                  <a:srgbClr val="000000"/>
                </a:solidFill>
                <a:effectLst/>
                <a:uLnTx/>
                <a:uFillTx/>
                <a:latin typeface="+mn-lt"/>
                <a:ea typeface="+mn-ea"/>
                <a:cs typeface="+mn-cs"/>
                <a:hlinkClick r:id="rId9"/>
              </a:rPr>
              <a:t>Crea agenti con Microsoft Copilot Studio</a:t>
            </a:r>
            <a:br>
              <a:rPr kumimoji="0" lang="it-it" sz="1000" i="0" u="none" strike="noStrike" kern="1200" cap="none" spc="0" normalizeH="0" baseline="0" noProof="0" dirty="0">
                <a:ln>
                  <a:noFill/>
                </a:ln>
                <a:solidFill>
                  <a:srgbClr val="000000"/>
                </a:solidFill>
                <a:effectLst/>
                <a:uLnTx/>
                <a:uFillTx/>
                <a:latin typeface="+mn-lt"/>
                <a:ea typeface="+mn-ea"/>
                <a:cs typeface="+mn-cs"/>
              </a:rPr>
            </a:br>
            <a:r>
              <a:rPr lang="it-it" sz="1000" b="0" dirty="0">
                <a:latin typeface="+mn-lt"/>
              </a:rPr>
              <a:t>Dimostra di saper progettare, sviluppare, testare e pubblicare agenti Copilot Studio che automatizzano processi, rispondono alle domande, integrano fonti di dati e vengono distribuiti in sicurezza su </a:t>
            </a:r>
            <a:br>
              <a:rPr lang="it-it" sz="1000" b="0" dirty="0">
                <a:latin typeface="+mn-lt"/>
              </a:rPr>
            </a:br>
            <a:r>
              <a:rPr lang="it-it" sz="1000" b="0" dirty="0">
                <a:latin typeface="+mn-lt"/>
              </a:rPr>
              <a:t>Microsoft 365.</a:t>
            </a: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p:txBody>
      </p:sp>
      <p:pic>
        <p:nvPicPr>
          <p:cNvPr id="24" name="Picture 23">
            <a:extLst>
              <a:ext uri="{FF2B5EF4-FFF2-40B4-BE49-F238E27FC236}">
                <a16:creationId xmlns:a16="http://schemas.microsoft.com/office/drawing/2014/main" id="{4DF545EB-7520-D8CE-3E69-658A5BD70B8F}"/>
              </a:ext>
            </a:extLst>
          </p:cNvPr>
          <p:cNvPicPr>
            <a:picLocks noChangeAspect="1"/>
          </p:cNvPicPr>
          <p:nvPr/>
        </p:nvPicPr>
        <p:blipFill>
          <a:blip r:embed="rId4"/>
          <a:stretch>
            <a:fillRect/>
          </a:stretch>
        </p:blipFill>
        <p:spPr>
          <a:xfrm>
            <a:off x="770905" y="2809077"/>
            <a:ext cx="320040" cy="320040"/>
          </a:xfrm>
          <a:prstGeom prst="rect">
            <a:avLst/>
          </a:prstGeom>
        </p:spPr>
      </p:pic>
      <p:sp>
        <p:nvSpPr>
          <p:cNvPr id="25" name="TextBox 24">
            <a:hlinkClick r:id="rId5"/>
            <a:extLst>
              <a:ext uri="{FF2B5EF4-FFF2-40B4-BE49-F238E27FC236}">
                <a16:creationId xmlns:a16="http://schemas.microsoft.com/office/drawing/2014/main" id="{F81B5569-EB92-7625-CE3D-7D2CDC792F7F}"/>
              </a:ext>
            </a:extLst>
          </p:cNvPr>
          <p:cNvSpPr txBox="1"/>
          <p:nvPr/>
        </p:nvSpPr>
        <p:spPr>
          <a:xfrm>
            <a:off x="707859" y="3869079"/>
            <a:ext cx="4574611" cy="1143000"/>
          </a:xfrm>
          <a:prstGeom prst="roundRect">
            <a:avLst>
              <a:gd name="adj" fmla="val 8753"/>
            </a:avLst>
          </a:prstGeom>
          <a:solidFill>
            <a:schemeClr val="bg1"/>
          </a:solidFill>
          <a:ln w="3175">
            <a:solidFill>
              <a:schemeClr val="bg1">
                <a:lumMod val="65000"/>
              </a:schemeClr>
            </a:solidFill>
          </a:ln>
          <a:effectLst>
            <a:outerShdw blurRad="609600" dist="38100" dir="8100000" sx="101000" sy="101000" algn="tr"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defPPr>
              <a:defRPr lang="en-US"/>
            </a:defPPr>
            <a:lvl1pPr marR="0" lvl="0" indent="0" defTabSz="932742" fontAlgn="auto">
              <a:lnSpc>
                <a:spcPct val="100000"/>
              </a:lnSpc>
              <a:spcBef>
                <a:spcPts val="0"/>
              </a:spcBef>
              <a:spcAft>
                <a:spcPts val="0"/>
              </a:spcAft>
              <a:buClrTx/>
              <a:buSzTx/>
              <a:buFontTx/>
              <a:buNone/>
              <a:tabLst/>
              <a:defRPr kumimoji="0" sz="900" b="1" i="0" u="none" strike="noStrike" cap="none" spc="0" normalizeH="0" baseline="0">
                <a:ln>
                  <a:noFill/>
                </a:ln>
                <a:solidFill>
                  <a:schemeClr val="tx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92100" lvl="0">
              <a:defRPr/>
            </a:pPr>
            <a:r>
              <a:rPr kumimoji="0" lang="it-it" sz="1000" i="0" u="none" strike="noStrike" kern="1200" cap="none" spc="0" normalizeH="0" baseline="0" noProof="0" dirty="0">
                <a:ln>
                  <a:noFill/>
                </a:ln>
                <a:solidFill>
                  <a:srgbClr val="000000"/>
                </a:solidFill>
                <a:effectLst/>
                <a:uLnTx/>
                <a:uFillTx/>
                <a:latin typeface="+mn-lt"/>
                <a:ea typeface="+mn-ea"/>
                <a:cs typeface="+mn-cs"/>
                <a:hlinkClick r:id="rId10"/>
              </a:rPr>
              <a:t>Potenzia gli agenti con funzionalità autonome</a:t>
            </a:r>
            <a:br>
              <a:rPr kumimoji="0" lang="it-it" sz="1000" i="0" u="none" strike="noStrike" kern="1200" cap="none" spc="0" normalizeH="0" baseline="0" noProof="0" dirty="0">
                <a:ln>
                  <a:noFill/>
                </a:ln>
                <a:solidFill>
                  <a:srgbClr val="000000"/>
                </a:solidFill>
                <a:effectLst/>
                <a:uLnTx/>
                <a:uFillTx/>
                <a:latin typeface="+mn-lt"/>
                <a:ea typeface="+mn-ea"/>
                <a:cs typeface="+mn-cs"/>
              </a:rPr>
            </a:br>
            <a:r>
              <a:rPr lang="it-it" sz="1000" b="0" dirty="0">
                <a:latin typeface="+mn-lt"/>
              </a:rPr>
              <a:t>Valida le competenze per migliorare l'autonomia degli agenti Copilot: pianificazione, uso degli strumenti, orchestrazione, salvaguardie ed esecuzione in più fasi che garantiscono risultati affidabili e conformi </a:t>
            </a:r>
            <a:br>
              <a:rPr lang="it-it" sz="1000" b="0" dirty="0">
                <a:latin typeface="+mn-lt"/>
              </a:rPr>
            </a:br>
            <a:r>
              <a:rPr lang="it-it" sz="1000" b="0" dirty="0">
                <a:latin typeface="+mn-lt"/>
              </a:rPr>
              <a:t>per gli utenti ogni giorno.</a:t>
            </a: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p:txBody>
      </p:sp>
      <p:pic>
        <p:nvPicPr>
          <p:cNvPr id="26" name="Picture 25">
            <a:extLst>
              <a:ext uri="{FF2B5EF4-FFF2-40B4-BE49-F238E27FC236}">
                <a16:creationId xmlns:a16="http://schemas.microsoft.com/office/drawing/2014/main" id="{DA5786B1-C4CC-72B0-FFA3-AC78A9A20258}"/>
              </a:ext>
            </a:extLst>
          </p:cNvPr>
          <p:cNvPicPr>
            <a:picLocks noChangeAspect="1"/>
          </p:cNvPicPr>
          <p:nvPr/>
        </p:nvPicPr>
        <p:blipFill>
          <a:blip r:embed="rId4"/>
          <a:stretch>
            <a:fillRect/>
          </a:stretch>
        </p:blipFill>
        <p:spPr>
          <a:xfrm>
            <a:off x="770905" y="3997568"/>
            <a:ext cx="320040" cy="320040"/>
          </a:xfrm>
          <a:prstGeom prst="rect">
            <a:avLst/>
          </a:prstGeom>
        </p:spPr>
      </p:pic>
    </p:spTree>
    <p:extLst>
      <p:ext uri="{BB962C8B-B14F-4D97-AF65-F5344CB8AC3E}">
        <p14:creationId xmlns:p14="http://schemas.microsoft.com/office/powerpoint/2010/main" val="56125284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8D10B10-2C4A-F390-6EFE-3413B3ECCE11}"/>
              </a:ext>
            </a:extLst>
          </p:cNvPr>
          <p:cNvSpPr txBox="1"/>
          <p:nvPr/>
        </p:nvSpPr>
        <p:spPr>
          <a:xfrm>
            <a:off x="583952" y="623052"/>
            <a:ext cx="11061948" cy="757130"/>
          </a:xfrm>
          <a:prstGeom prst="rect">
            <a:avLst/>
          </a:prstGeom>
          <a:noFill/>
          <a:ln>
            <a:noFill/>
            <a:prstDash/>
          </a:ln>
          <a:effectLst/>
        </p:spPr>
        <p:txBody>
          <a:bodyPr wrap="square" lIns="0" rIns="0">
            <a:spAutoFit/>
          </a:bodyPr>
          <a:lstStyle/>
          <a:p>
            <a:pPr>
              <a:lnSpc>
                <a:spcPct val="90000"/>
              </a:lnSpc>
              <a:spcAft>
                <a:spcPts val="600"/>
              </a:spcAft>
            </a:pPr>
            <a:r>
              <a:rPr lang="it-it" sz="48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Risorse utili</a:t>
            </a:r>
          </a:p>
        </p:txBody>
      </p:sp>
    </p:spTree>
    <p:extLst>
      <p:ext uri="{BB962C8B-B14F-4D97-AF65-F5344CB8AC3E}">
        <p14:creationId xmlns:p14="http://schemas.microsoft.com/office/powerpoint/2010/main" val="131432991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769FFE3-B4A9-DABD-6587-4FE32909B048}"/>
              </a:ext>
            </a:extLst>
          </p:cNvPr>
          <p:cNvSpPr/>
          <p:nvPr/>
        </p:nvSpPr>
        <p:spPr bwMode="auto">
          <a:xfrm rot="16200000" flipH="1">
            <a:off x="-136453" y="2742488"/>
            <a:ext cx="4025649"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7" name="Picture 6" descr="Codice QR su sfondo bianco">
            <a:extLst>
              <a:ext uri="{FF2B5EF4-FFF2-40B4-BE49-F238E27FC236}">
                <a16:creationId xmlns:a16="http://schemas.microsoft.com/office/drawing/2014/main" id="{73434B69-5AE9-898D-CD74-79C32E94922A}"/>
              </a:ext>
            </a:extLst>
          </p:cNvPr>
          <p:cNvPicPr>
            <a:picLocks noChangeAspect="1"/>
          </p:cNvPicPr>
          <p:nvPr/>
        </p:nvPicPr>
        <p:blipFill>
          <a:blip r:embed="rId3"/>
          <a:stretch>
            <a:fillRect/>
          </a:stretch>
        </p:blipFill>
        <p:spPr>
          <a:xfrm>
            <a:off x="971115" y="2441954"/>
            <a:ext cx="1810512" cy="1810512"/>
          </a:xfrm>
          <a:prstGeom prst="roundRect">
            <a:avLst>
              <a:gd name="adj" fmla="val 2933"/>
            </a:avLst>
          </a:prstGeom>
          <a:noFill/>
        </p:spPr>
      </p:pic>
      <p:pic>
        <p:nvPicPr>
          <p:cNvPr id="8" name="Graphic 7">
            <a:extLst>
              <a:ext uri="{FF2B5EF4-FFF2-40B4-BE49-F238E27FC236}">
                <a16:creationId xmlns:a16="http://schemas.microsoft.com/office/drawing/2014/main" id="{75B56898-3899-BCD6-7447-3BC0B11179B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207588" y="835066"/>
            <a:ext cx="1337566" cy="705394"/>
          </a:xfrm>
          <a:prstGeom prst="rect">
            <a:avLst/>
          </a:prstGeom>
        </p:spPr>
      </p:pic>
      <p:grpSp>
        <p:nvGrpSpPr>
          <p:cNvPr id="9" name="Group 8">
            <a:extLst>
              <a:ext uri="{FF2B5EF4-FFF2-40B4-BE49-F238E27FC236}">
                <a16:creationId xmlns:a16="http://schemas.microsoft.com/office/drawing/2014/main" id="{820D5F12-A3A3-A4CD-77D1-C117AD33C91C}"/>
              </a:ext>
            </a:extLst>
          </p:cNvPr>
          <p:cNvGrpSpPr/>
          <p:nvPr/>
        </p:nvGrpSpPr>
        <p:grpSpPr>
          <a:xfrm>
            <a:off x="370476" y="4696070"/>
            <a:ext cx="7503737" cy="844463"/>
            <a:chOff x="5607459" y="5376024"/>
            <a:chExt cx="5795892" cy="844463"/>
          </a:xfrm>
        </p:grpSpPr>
        <p:sp>
          <p:nvSpPr>
            <p:cNvPr id="10" name="Rectangle: Rounded Corners 11">
              <a:extLst>
                <a:ext uri="{FF2B5EF4-FFF2-40B4-BE49-F238E27FC236}">
                  <a16:creationId xmlns:a16="http://schemas.microsoft.com/office/drawing/2014/main" id="{A5462F07-51EC-FE13-93F4-2314FCEFECD5}"/>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1">
              <a:extLst>
                <a:ext uri="{FF2B5EF4-FFF2-40B4-BE49-F238E27FC236}">
                  <a16:creationId xmlns:a16="http://schemas.microsoft.com/office/drawing/2014/main" id="{E7411E11-9611-5596-57F4-8F8E3C1C7A50}"/>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descr="Immagine sfocata di un cielo blu e arancione  I contenuti generati dall'IA possono non essere corretti.">
            <a:extLst>
              <a:ext uri="{FF2B5EF4-FFF2-40B4-BE49-F238E27FC236}">
                <a16:creationId xmlns:a16="http://schemas.microsoft.com/office/drawing/2014/main" id="{8B53E518-C6A8-9ECF-F889-F03B4CEBA56D}"/>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6522" t="1189" r="13264" b="356"/>
          <a:stretch>
            <a:fillRect/>
          </a:stretch>
        </p:blipFill>
        <p:spPr>
          <a:xfrm rot="10800000" flipV="1">
            <a:off x="3624479" y="2"/>
            <a:ext cx="8567520" cy="6646984"/>
          </a:xfrm>
          <a:prstGeom prst="rect">
            <a:avLst/>
          </a:prstGeom>
          <a:effectLst/>
        </p:spPr>
      </p:pic>
      <p:sp>
        <p:nvSpPr>
          <p:cNvPr id="13" name="TextBox 12">
            <a:extLst>
              <a:ext uri="{FF2B5EF4-FFF2-40B4-BE49-F238E27FC236}">
                <a16:creationId xmlns:a16="http://schemas.microsoft.com/office/drawing/2014/main" id="{C4CABB8F-80F5-8CBA-B0D9-1B0D8B936F4A}"/>
              </a:ext>
            </a:extLst>
          </p:cNvPr>
          <p:cNvSpPr txBox="1"/>
          <p:nvPr/>
        </p:nvSpPr>
        <p:spPr>
          <a:xfrm>
            <a:off x="4088315" y="748860"/>
            <a:ext cx="7532185" cy="757130"/>
          </a:xfrm>
          <a:prstGeom prst="rect">
            <a:avLst/>
          </a:prstGeom>
          <a:noFill/>
          <a:ln>
            <a:noFill/>
            <a:prstDash/>
          </a:ln>
          <a:effectLst/>
        </p:spPr>
        <p:txBody>
          <a:bodyPr wrap="square">
            <a:spAutoFit/>
          </a:bodyPr>
          <a:lstStyle/>
          <a:p>
            <a:pPr algn="ctr">
              <a:lnSpc>
                <a:spcPct val="90000"/>
              </a:lnSpc>
              <a:spcAft>
                <a:spcPts val="1800"/>
              </a:spcAft>
            </a:pPr>
            <a:r>
              <a:rPr lang="it-it" sz="24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Visita </a:t>
            </a:r>
            <a:r>
              <a:rPr lang="it-it" sz="24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hlinkClick r:id="rId7">
                  <a:extLst>
                    <a:ext uri="{A12FA001-AC4F-418D-AE19-62706E023703}">
                      <ahyp:hlinkClr xmlns:ahyp="http://schemas.microsoft.com/office/drawing/2018/hyperlinkcolor" val="tx"/>
                    </a:ext>
                  </a:extLst>
                </a:hlinkClick>
              </a:rPr>
              <a:t>il sito Customer Hub</a:t>
            </a:r>
            <a:r>
              <a:rPr lang="it-it" sz="24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 per prossime sessioni, aggiornamenti e contenuti on-demand!</a:t>
            </a:r>
          </a:p>
        </p:txBody>
      </p:sp>
      <p:sp>
        <p:nvSpPr>
          <p:cNvPr id="14" name="Rectangle: Rounded Corners 13">
            <a:extLst>
              <a:ext uri="{FF2B5EF4-FFF2-40B4-BE49-F238E27FC236}">
                <a16:creationId xmlns:a16="http://schemas.microsoft.com/office/drawing/2014/main" id="{DE7ED2F4-D21B-084A-2A38-BC93B81F409C}"/>
              </a:ext>
            </a:extLst>
          </p:cNvPr>
          <p:cNvSpPr/>
          <p:nvPr/>
        </p:nvSpPr>
        <p:spPr bwMode="auto">
          <a:xfrm rot="16200000" flipH="1">
            <a:off x="5821723" y="257308"/>
            <a:ext cx="4052645" cy="7519459"/>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pic>
        <p:nvPicPr>
          <p:cNvPr id="16" name="Picture 15">
            <a:extLst>
              <a:ext uri="{FF2B5EF4-FFF2-40B4-BE49-F238E27FC236}">
                <a16:creationId xmlns:a16="http://schemas.microsoft.com/office/drawing/2014/main" id="{09B68A1B-6C97-5CBE-8BA3-9965A9A3366F}"/>
              </a:ext>
            </a:extLst>
          </p:cNvPr>
          <p:cNvPicPr>
            <a:picLocks noChangeAspect="1"/>
          </p:cNvPicPr>
          <p:nvPr/>
        </p:nvPicPr>
        <p:blipFill>
          <a:blip r:embed="rId8"/>
          <a:stretch>
            <a:fillRect/>
          </a:stretch>
        </p:blipFill>
        <p:spPr>
          <a:xfrm>
            <a:off x="4354189" y="2266134"/>
            <a:ext cx="6987712" cy="3527026"/>
          </a:xfrm>
          <a:prstGeom prst="rect">
            <a:avLst/>
          </a:prstGeom>
        </p:spPr>
      </p:pic>
      <p:sp>
        <p:nvSpPr>
          <p:cNvPr id="18" name="TextBox 17">
            <a:extLst>
              <a:ext uri="{FF2B5EF4-FFF2-40B4-BE49-F238E27FC236}">
                <a16:creationId xmlns:a16="http://schemas.microsoft.com/office/drawing/2014/main" id="{DDBD7BC9-C94D-BA17-C3A3-5295E41DE562}"/>
              </a:ext>
            </a:extLst>
          </p:cNvPr>
          <p:cNvSpPr txBox="1"/>
          <p:nvPr/>
        </p:nvSpPr>
        <p:spPr>
          <a:xfrm>
            <a:off x="711789" y="5033662"/>
            <a:ext cx="2329164" cy="169277"/>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algn="l" defTabSz="914400">
              <a:defRPr/>
            </a:pPr>
            <a:r>
              <a:rPr lang="it-it" sz="1100">
                <a:solidFill>
                  <a:schemeClr val="tx2"/>
                </a:solidFill>
                <a:latin typeface="Segoe Sans Text"/>
                <a:hlinkClick r:id="rId7">
                  <a:extLst>
                    <a:ext uri="{A12FA001-AC4F-418D-AE19-62706E023703}">
                      <ahyp:hlinkClr xmlns:ahyp="http://schemas.microsoft.com/office/drawing/2018/hyperlinkcolor" val="tx"/>
                    </a:ext>
                  </a:extLst>
                </a:hlinkClick>
              </a:rPr>
              <a:t>https://aka.ms/CustomerHubSessions</a:t>
            </a:r>
            <a:r>
              <a:rPr lang="it-it" sz="1100">
                <a:solidFill>
                  <a:schemeClr val="tx2"/>
                </a:solidFill>
                <a:latin typeface="Segoe Sans Text"/>
              </a:rPr>
              <a:t>​</a:t>
            </a:r>
          </a:p>
        </p:txBody>
      </p:sp>
    </p:spTree>
    <p:extLst>
      <p:ext uri="{BB962C8B-B14F-4D97-AF65-F5344CB8AC3E}">
        <p14:creationId xmlns:p14="http://schemas.microsoft.com/office/powerpoint/2010/main" val="224691423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9A7C4A-0536-1F37-DE83-47C0C8491735}"/>
              </a:ext>
            </a:extLst>
          </p:cNvPr>
          <p:cNvSpPr>
            <a:spLocks noGrp="1"/>
          </p:cNvSpPr>
          <p:nvPr>
            <p:ph type="title" idx="4294967295"/>
          </p:nvPr>
        </p:nvSpPr>
        <p:spPr>
          <a:xfrm>
            <a:off x="-1" y="457200"/>
            <a:ext cx="12085983" cy="3840480"/>
          </a:xfrm>
        </p:spPr>
        <p:txBody>
          <a:bodyPr wrap="square">
            <a:spAutoFit/>
          </a:bodyPr>
          <a:lstStyle/>
          <a:p>
            <a:pPr algn="ctr"/>
            <a:r>
              <a:rPr lang="it-it">
                <a:solidFill>
                  <a:schemeClr val="bg1"/>
                </a:solidFill>
              </a:rPr>
              <a:t>Investimenti Microsoft per accelerare il time-to-value</a:t>
            </a:r>
          </a:p>
        </p:txBody>
      </p:sp>
      <p:pic>
        <p:nvPicPr>
          <p:cNvPr id="2" name="Picture 1">
            <a:extLst>
              <a:ext uri="{FF2B5EF4-FFF2-40B4-BE49-F238E27FC236}">
                <a16:creationId xmlns:a16="http://schemas.microsoft.com/office/drawing/2014/main" id="{67915510-118A-6029-1C2F-62F893052CB6}"/>
              </a:ext>
              <a:ext uri="{C183D7F6-B498-43B3-948B-1728B52AA6E4}">
                <adec:decorative xmlns:adec="http://schemas.microsoft.com/office/drawing/2017/decorative" val="1"/>
              </a:ext>
            </a:extLst>
          </p:cNvPr>
          <p:cNvPicPr>
            <a:picLocks/>
          </p:cNvPicPr>
          <p:nvPr/>
        </p:nvPicPr>
        <p:blipFill rotWithShape="1">
          <a:blip r:embed="rId3">
            <a:alphaModFix amt="45000"/>
          </a:blip>
          <a:srcRect l="7533" t="35613" r="65955" b="15124"/>
          <a:stretch/>
        </p:blipFill>
        <p:spPr>
          <a:xfrm>
            <a:off x="587373" y="1387130"/>
            <a:ext cx="11017254" cy="4247425"/>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 name="Rectangle: Top Corners Rounded 5">
            <a:extLst>
              <a:ext uri="{FF2B5EF4-FFF2-40B4-BE49-F238E27FC236}">
                <a16:creationId xmlns:a16="http://schemas.microsoft.com/office/drawing/2014/main" id="{C4CB7184-0299-51B1-BF69-B9A4ACF92838}"/>
              </a:ext>
              <a:ext uri="{C183D7F6-B498-43B3-948B-1728B52AA6E4}">
                <adec:decorative xmlns:adec="http://schemas.microsoft.com/office/drawing/2017/decorative" val="1"/>
              </a:ext>
            </a:extLst>
          </p:cNvPr>
          <p:cNvSpPr>
            <a:spLocks/>
          </p:cNvSpPr>
          <p:nvPr/>
        </p:nvSpPr>
        <p:spPr bwMode="auto">
          <a:xfrm>
            <a:off x="586739" y="5078265"/>
            <a:ext cx="11017254" cy="564952"/>
          </a:xfrm>
          <a:prstGeom prst="round2SameRect">
            <a:avLst>
              <a:gd name="adj1" fmla="val 0"/>
              <a:gd name="adj2" fmla="val 29391"/>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7" name="TextBox 6">
            <a:extLst>
              <a:ext uri="{FF2B5EF4-FFF2-40B4-BE49-F238E27FC236}">
                <a16:creationId xmlns:a16="http://schemas.microsoft.com/office/drawing/2014/main" id="{8E01AF9E-FF17-FC65-E60D-CDD41B7320CC}"/>
              </a:ext>
              <a:ext uri="{C183D7F6-B498-43B3-948B-1728B52AA6E4}">
                <adec:decorative xmlns:adec="http://schemas.microsoft.com/office/drawing/2017/decorative" val="1"/>
              </a:ext>
            </a:extLst>
          </p:cNvPr>
          <p:cNvSpPr txBox="1">
            <a:spLocks/>
          </p:cNvSpPr>
          <p:nvPr/>
        </p:nvSpPr>
        <p:spPr>
          <a:xfrm>
            <a:off x="724531"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3" name="TextBox 12">
            <a:extLst>
              <a:ext uri="{FF2B5EF4-FFF2-40B4-BE49-F238E27FC236}">
                <a16:creationId xmlns:a16="http://schemas.microsoft.com/office/drawing/2014/main" id="{73681691-20BB-3D4C-2F76-5868DD0BF3E0}"/>
              </a:ext>
              <a:ext uri="{C183D7F6-B498-43B3-948B-1728B52AA6E4}">
                <adec:decorative xmlns:adec="http://schemas.microsoft.com/office/drawing/2017/decorative" val="1"/>
              </a:ext>
            </a:extLst>
          </p:cNvPr>
          <p:cNvSpPr txBox="1">
            <a:spLocks/>
          </p:cNvSpPr>
          <p:nvPr/>
        </p:nvSpPr>
        <p:spPr>
          <a:xfrm>
            <a:off x="7984918"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7" name="Rectangle: Top Corners Rounded 16">
            <a:extLst>
              <a:ext uri="{FF2B5EF4-FFF2-40B4-BE49-F238E27FC236}">
                <a16:creationId xmlns:a16="http://schemas.microsoft.com/office/drawing/2014/main" id="{5D2A3FB4-7639-F59C-C966-FC8B96EED6F1}"/>
              </a:ext>
              <a:ext uri="{C183D7F6-B498-43B3-948B-1728B52AA6E4}">
                <adec:decorative xmlns:adec="http://schemas.microsoft.com/office/drawing/2017/decorative" val="1"/>
              </a:ext>
            </a:extLst>
          </p:cNvPr>
          <p:cNvSpPr/>
          <p:nvPr/>
        </p:nvSpPr>
        <p:spPr bwMode="auto">
          <a:xfrm>
            <a:off x="2094689" y="2488219"/>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Rectangle: Top Corners Rounded 17">
            <a:extLst>
              <a:ext uri="{FF2B5EF4-FFF2-40B4-BE49-F238E27FC236}">
                <a16:creationId xmlns:a16="http://schemas.microsoft.com/office/drawing/2014/main" id="{7D4C55B4-C4BE-34D2-C7AB-1B27FE243C07}"/>
              </a:ext>
              <a:ext uri="{C183D7F6-B498-43B3-948B-1728B52AA6E4}">
                <adec:decorative xmlns:adec="http://schemas.microsoft.com/office/drawing/2017/decorative" val="1"/>
              </a:ext>
            </a:extLst>
          </p:cNvPr>
          <p:cNvSpPr>
            <a:spLocks/>
          </p:cNvSpPr>
          <p:nvPr/>
        </p:nvSpPr>
        <p:spPr bwMode="auto">
          <a:xfrm>
            <a:off x="9355076" y="2488219"/>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1CA52D74-D3EF-4A3E-A379-85ADA397C946}"/>
              </a:ext>
            </a:extLst>
          </p:cNvPr>
          <p:cNvSpPr txBox="1"/>
          <p:nvPr/>
        </p:nvSpPr>
        <p:spPr>
          <a:xfrm>
            <a:off x="866365" y="2772980"/>
            <a:ext cx="3195076" cy="83099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000000"/>
                </a:solidFill>
                <a:effectLst/>
                <a:uLnTx/>
                <a:uFillTx/>
                <a:latin typeface="Segoe UI"/>
                <a:ea typeface="+mn-ea"/>
                <a:cs typeface="+mn-cs"/>
              </a:rPr>
              <a:t>Trova partner per aiutarti con l'estendibilità di Microsoft 365 Copilot nella </a:t>
            </a:r>
          </a:p>
        </p:txBody>
      </p:sp>
      <p:sp>
        <p:nvSpPr>
          <p:cNvPr id="35" name="TextBox 34">
            <a:extLst>
              <a:ext uri="{FF2B5EF4-FFF2-40B4-BE49-F238E27FC236}">
                <a16:creationId xmlns:a16="http://schemas.microsoft.com/office/drawing/2014/main" id="{E0C2927B-7403-59DF-EE1E-90C5A54567BE}"/>
              </a:ext>
              <a:ext uri="{C183D7F6-B498-43B3-948B-1728B52AA6E4}">
                <adec:decorative xmlns:adec="http://schemas.microsoft.com/office/drawing/2017/decorative" val="1"/>
              </a:ext>
            </a:extLst>
          </p:cNvPr>
          <p:cNvSpPr txBox="1">
            <a:spLocks/>
          </p:cNvSpPr>
          <p:nvPr/>
        </p:nvSpPr>
        <p:spPr>
          <a:xfrm>
            <a:off x="4346016"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38" name="Rectangle: Top Corners Rounded 37">
            <a:extLst>
              <a:ext uri="{FF2B5EF4-FFF2-40B4-BE49-F238E27FC236}">
                <a16:creationId xmlns:a16="http://schemas.microsoft.com/office/drawing/2014/main" id="{9E69B886-851A-4BFC-B42B-0DB3A1083649}"/>
              </a:ext>
              <a:ext uri="{C183D7F6-B498-43B3-948B-1728B52AA6E4}">
                <adec:decorative xmlns:adec="http://schemas.microsoft.com/office/drawing/2017/decorative" val="1"/>
              </a:ext>
            </a:extLst>
          </p:cNvPr>
          <p:cNvSpPr/>
          <p:nvPr/>
        </p:nvSpPr>
        <p:spPr bwMode="auto">
          <a:xfrm>
            <a:off x="5716174" y="2488219"/>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DBD0298A-FAE0-CE7C-83BD-AD035A9707E2}"/>
              </a:ext>
            </a:extLst>
          </p:cNvPr>
          <p:cNvSpPr txBox="1"/>
          <p:nvPr/>
        </p:nvSpPr>
        <p:spPr>
          <a:xfrm>
            <a:off x="4417424" y="2772980"/>
            <a:ext cx="3335926" cy="83099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000000"/>
                </a:solidFill>
                <a:effectLst/>
                <a:uLnTx/>
                <a:uFillTx/>
                <a:latin typeface="Segoe UI"/>
                <a:ea typeface="+mn-ea"/>
                <a:cs typeface="+mn-cs"/>
              </a:rPr>
              <a:t>I clienti idonei</a:t>
            </a:r>
            <a:r>
              <a:rPr lang="it-it" sz="1400" noProof="0" dirty="0"/>
              <a:t> </a:t>
            </a:r>
            <a:r>
              <a:rPr kumimoji="0" lang="it-it" sz="1800" b="0" i="0" u="none" strike="noStrike" kern="1200" cap="none" spc="0" normalizeH="0" baseline="0" noProof="0" dirty="0">
                <a:ln>
                  <a:noFill/>
                </a:ln>
                <a:solidFill>
                  <a:srgbClr val="000000"/>
                </a:solidFill>
                <a:effectLst/>
                <a:uLnTx/>
                <a:uFillTx/>
                <a:latin typeface="Segoe UI"/>
                <a:ea typeface="+mn-ea"/>
                <a:cs typeface="+mn-cs"/>
              </a:rPr>
              <a:t>possono richiedere assistenza tecnica e</a:t>
            </a:r>
            <a:r>
              <a:rPr kumimoji="0" lang="it-it" sz="1800" b="0" i="0" u="none" strike="noStrike" kern="1200" cap="none" spc="0" normalizeH="0" noProof="0" dirty="0">
                <a:ln>
                  <a:noFill/>
                </a:ln>
                <a:solidFill>
                  <a:srgbClr val="000000"/>
                </a:solidFill>
                <a:effectLst/>
                <a:uLnTx/>
                <a:uFillTx/>
                <a:latin typeface="Segoe UI"/>
                <a:ea typeface="+mn-ea"/>
                <a:cs typeface="+mn-cs"/>
              </a:rPr>
              <a:t> </a:t>
            </a:r>
            <a:r>
              <a:rPr kumimoji="0" lang="it-it" sz="1800" b="0" i="0" u="none" strike="noStrike" kern="1200" cap="none" spc="0" normalizeH="0" baseline="0" noProof="0" dirty="0">
                <a:ln>
                  <a:noFill/>
                </a:ln>
                <a:solidFill>
                  <a:srgbClr val="000000"/>
                </a:solidFill>
                <a:effectLst/>
                <a:uLnTx/>
                <a:uFillTx/>
                <a:latin typeface="Segoe UI"/>
                <a:ea typeface="+mn-ea"/>
                <a:cs typeface="+mn-cs"/>
              </a:rPr>
              <a:t>di implementazione con</a:t>
            </a:r>
            <a:r>
              <a:rPr kumimoji="0" lang="it-it" sz="1800" b="0" i="0" u="none" strike="noStrike" kern="1200" cap="none" spc="0" normalizeH="0" noProof="0" dirty="0">
                <a:ln>
                  <a:noFill/>
                </a:ln>
                <a:solidFill>
                  <a:srgbClr val="000000"/>
                </a:solidFill>
                <a:effectLst/>
                <a:uLnTx/>
                <a:uFillTx/>
                <a:latin typeface="Segoe UI"/>
                <a:ea typeface="+mn-ea"/>
                <a:cs typeface="+mn-cs"/>
              </a:rPr>
              <a:t> FastTrack</a:t>
            </a:r>
            <a:r>
              <a:rPr kumimoji="0" lang="it-it" sz="1800" b="0" i="0" u="none" strike="noStrike" kern="1200" cap="none" spc="0" normalizeH="0" baseline="0" noProof="0" dirty="0">
                <a:ln>
                  <a:noFill/>
                </a:ln>
                <a:solidFill>
                  <a:srgbClr val="000000"/>
                </a:solidFill>
                <a:effectLst/>
                <a:uLnTx/>
                <a:uFillTx/>
                <a:latin typeface="Segoe UI"/>
                <a:ea typeface="+mn-ea"/>
                <a:cs typeface="+mn-cs"/>
              </a:rPr>
              <a:t> </a:t>
            </a:r>
          </a:p>
        </p:txBody>
      </p:sp>
      <p:sp>
        <p:nvSpPr>
          <p:cNvPr id="41" name="TextBox 40">
            <a:extLst>
              <a:ext uri="{FF2B5EF4-FFF2-40B4-BE49-F238E27FC236}">
                <a16:creationId xmlns:a16="http://schemas.microsoft.com/office/drawing/2014/main" id="{9BF808FC-1B6F-4ED3-A609-8BD36DB8C8F2}"/>
              </a:ext>
            </a:extLst>
          </p:cNvPr>
          <p:cNvSpPr txBox="1"/>
          <p:nvPr/>
        </p:nvSpPr>
        <p:spPr>
          <a:xfrm>
            <a:off x="8126751" y="2772980"/>
            <a:ext cx="3195076" cy="86177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000000"/>
                </a:solidFill>
                <a:effectLst/>
                <a:uLnTx/>
                <a:uFillTx/>
                <a:latin typeface="Segoe UI"/>
                <a:ea typeface="+mn-ea"/>
                <a:cs typeface="+mn-cs"/>
              </a:rPr>
              <a:t>Inizia il tuo percorso in</a:t>
            </a:r>
            <a:br>
              <a:rPr sz="1400" dirty="0"/>
            </a:br>
            <a:r>
              <a:rPr kumimoji="0" lang="it-it" sz="1800" b="0" i="0" u="none" strike="noStrike" kern="1200" cap="none" spc="0" normalizeH="0" baseline="0" noProof="0" dirty="0">
                <a:ln>
                  <a:noFill/>
                </a:ln>
                <a:solidFill>
                  <a:srgbClr val="000000"/>
                </a:solidFill>
                <a:effectLst/>
                <a:uLnTx/>
                <a:uFillTx/>
                <a:latin typeface="Segoe UI"/>
                <a:ea typeface="+mn-ea"/>
                <a:cs typeface="+mn-cs"/>
              </a:rPr>
              <a:t>Copilot con servizi guidati</a:t>
            </a:r>
            <a:br>
              <a:rPr sz="1400" dirty="0"/>
            </a:br>
            <a:r>
              <a:rPr kumimoji="0" lang="it-it" sz="1800" b="0" i="0" u="none" strike="noStrike" kern="1200" cap="none" spc="0" normalizeH="0" baseline="0" noProof="0" dirty="0">
                <a:ln>
                  <a:noFill/>
                </a:ln>
                <a:solidFill>
                  <a:srgbClr val="000000"/>
                </a:solidFill>
                <a:effectLst/>
                <a:uLnTx/>
                <a:uFillTx/>
                <a:latin typeface="Segoe UI"/>
                <a:ea typeface="+mn-ea"/>
                <a:cs typeface="+mn-cs"/>
              </a:rPr>
              <a:t>da CSA esperti grazie a </a:t>
            </a:r>
          </a:p>
        </p:txBody>
      </p:sp>
      <p:sp>
        <p:nvSpPr>
          <p:cNvPr id="42" name="Rectangle: Rounded Corners 41">
            <a:extLst>
              <a:ext uri="{FF2B5EF4-FFF2-40B4-BE49-F238E27FC236}">
                <a16:creationId xmlns:a16="http://schemas.microsoft.com/office/drawing/2014/main" id="{E254328C-50E5-EFF4-38D1-C35709195A27}"/>
              </a:ext>
            </a:extLst>
          </p:cNvPr>
          <p:cNvSpPr>
            <a:spLocks/>
          </p:cNvSpPr>
          <p:nvPr/>
        </p:nvSpPr>
        <p:spPr bwMode="auto">
          <a:xfrm>
            <a:off x="866365" y="4485138"/>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1200" cap="none" spc="0" normalizeH="0" baseline="0" noProof="0" dirty="0">
                <a:ln>
                  <a:noFill/>
                </a:ln>
                <a:solidFill>
                  <a:srgbClr val="0078D4"/>
                </a:solidFill>
                <a:effectLst/>
                <a:uLnTx/>
                <a:uFillTx/>
                <a:latin typeface="Segoe UI Semibold" panose="020B0702040204020203"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t>Directory dei partner </a:t>
            </a:r>
            <a:br>
              <a:rPr kumimoji="0" lang="it-it" sz="1200" b="0" i="0" u="none" strike="noStrike" kern="1200" cap="none" spc="0" normalizeH="0" baseline="0" noProof="0" dirty="0">
                <a:ln>
                  <a:noFill/>
                </a:ln>
                <a:solidFill>
                  <a:srgbClr val="0078D4"/>
                </a:solidFill>
                <a:effectLst/>
                <a:uLnTx/>
                <a:uFillTx/>
                <a:latin typeface="Segoe UI Semibold" panose="020B0702040204020203"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br>
            <a:r>
              <a:rPr kumimoji="0" lang="it-it" sz="1200" b="0" i="0" u="none" strike="noStrike" kern="1200" cap="none" spc="0" normalizeH="0" baseline="0" noProof="0" dirty="0">
                <a:ln>
                  <a:noFill/>
                </a:ln>
                <a:solidFill>
                  <a:srgbClr val="0078D4"/>
                </a:solidFill>
                <a:effectLst/>
                <a:uLnTx/>
                <a:uFillTx/>
                <a:latin typeface="Segoe UI Semibold" panose="020B0702040204020203"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t>Microsoft 365 Copilot</a:t>
            </a:r>
            <a:endParaRPr kumimoji="0" lang="en-US" sz="1200" b="0" i="0" u="none" strike="noStrike" kern="1200" cap="none" spc="0" normalizeH="0" baseline="0" noProof="0" dirty="0">
              <a:ln>
                <a:noFill/>
              </a:ln>
              <a:solidFill>
                <a:srgbClr val="0078D4"/>
              </a:solidFill>
              <a:effectLst/>
              <a:uLnTx/>
              <a:uFillTx/>
              <a:latin typeface="Segoe UI Semibold"/>
              <a:ea typeface="Calibri" panose="020F0502020204030204" pitchFamily="34" charset="0"/>
            </a:endParaRPr>
          </a:p>
        </p:txBody>
      </p:sp>
      <p:sp>
        <p:nvSpPr>
          <p:cNvPr id="43" name="Rectangle: Rounded Corners 42">
            <a:extLst>
              <a:ext uri="{FF2B5EF4-FFF2-40B4-BE49-F238E27FC236}">
                <a16:creationId xmlns:a16="http://schemas.microsoft.com/office/drawing/2014/main" id="{C1F0D71F-275E-62C3-C81C-9A0FDF1CCBED}"/>
              </a:ext>
            </a:extLst>
          </p:cNvPr>
          <p:cNvSpPr>
            <a:spLocks/>
          </p:cNvSpPr>
          <p:nvPr/>
        </p:nvSpPr>
        <p:spPr bwMode="auto">
          <a:xfrm>
            <a:off x="4487850" y="4485138"/>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5">
                  <a:extLst>
                    <a:ext uri="{A12FA001-AC4F-418D-AE19-62706E023703}">
                      <ahyp:hlinkClr xmlns:ahyp="http://schemas.microsoft.com/office/drawing/2018/hyperlinkcolor" val="tx"/>
                    </a:ext>
                  </a:extLst>
                </a:hlinkClick>
              </a:rPr>
              <a:t>Microsoft FastTrack</a:t>
            </a:r>
            <a:endParaRPr kumimoji="0" lang="en-US" sz="1200" b="0" i="0" u="none" strike="noStrike" kern="1200" cap="none" spc="0" normalizeH="0" baseline="0" noProof="0">
              <a:ln>
                <a:noFill/>
              </a:ln>
              <a:solidFill>
                <a:srgbClr val="0078D4"/>
              </a:solidFill>
              <a:effectLst/>
              <a:uLnTx/>
              <a:uFillTx/>
              <a:latin typeface="Segoe UI Semibold"/>
              <a:ea typeface="Calibri" panose="020F0502020204030204" pitchFamily="34" charset="0"/>
            </a:endParaRPr>
          </a:p>
        </p:txBody>
      </p:sp>
      <p:sp>
        <p:nvSpPr>
          <p:cNvPr id="44" name="Rectangle: Rounded Corners 43">
            <a:extLst>
              <a:ext uri="{FF2B5EF4-FFF2-40B4-BE49-F238E27FC236}">
                <a16:creationId xmlns:a16="http://schemas.microsoft.com/office/drawing/2014/main" id="{C9F09923-D651-73EA-1851-1C29A3706FE7}"/>
              </a:ext>
            </a:extLst>
          </p:cNvPr>
          <p:cNvSpPr>
            <a:spLocks/>
          </p:cNvSpPr>
          <p:nvPr/>
        </p:nvSpPr>
        <p:spPr bwMode="auto">
          <a:xfrm>
            <a:off x="8126753" y="4485138"/>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6">
                  <a:extLst>
                    <a:ext uri="{A12FA001-AC4F-418D-AE19-62706E023703}">
                      <ahyp:hlinkClr xmlns:ahyp="http://schemas.microsoft.com/office/drawing/2018/hyperlinkcolor" val="tx"/>
                    </a:ext>
                  </a:extLst>
                </a:hlinkClick>
              </a:rPr>
              <a:t>Microsoft Unified</a:t>
            </a:r>
            <a:endParaRPr kumimoji="0" lang="en-US" sz="1200" b="0" i="0" u="none" strike="noStrike" kern="1200" cap="none" spc="0" normalizeH="0" baseline="0" noProof="0">
              <a:ln>
                <a:noFill/>
              </a:ln>
              <a:solidFill>
                <a:srgbClr val="0078D4"/>
              </a:solidFill>
              <a:effectLst/>
              <a:uLnTx/>
              <a:uFillTx/>
              <a:latin typeface="Segoe UI Semibold"/>
              <a:ea typeface="Calibri" panose="020F0502020204030204" pitchFamily="34" charset="0"/>
            </a:endParaRPr>
          </a:p>
        </p:txBody>
      </p:sp>
      <p:sp>
        <p:nvSpPr>
          <p:cNvPr id="9" name="Graphic 2">
            <a:extLst>
              <a:ext uri="{FF2B5EF4-FFF2-40B4-BE49-F238E27FC236}">
                <a16:creationId xmlns:a16="http://schemas.microsoft.com/office/drawing/2014/main" id="{F1A6E0B9-1B23-69CF-89C4-ADF4FE4D6ABF}"/>
              </a:ext>
              <a:ext uri="{C183D7F6-B498-43B3-948B-1728B52AA6E4}">
                <adec:decorative xmlns:adec="http://schemas.microsoft.com/office/drawing/2017/decorative" val="1"/>
              </a:ext>
            </a:extLst>
          </p:cNvPr>
          <p:cNvSpPr/>
          <p:nvPr/>
        </p:nvSpPr>
        <p:spPr>
          <a:xfrm>
            <a:off x="2259610" y="1818920"/>
            <a:ext cx="408584" cy="510642"/>
          </a:xfrm>
          <a:custGeom>
            <a:avLst/>
            <a:gdLst>
              <a:gd name="connsiteX0" fmla="*/ 237141 w 237141"/>
              <a:gd name="connsiteY0" fmla="*/ 211124 h 296376"/>
              <a:gd name="connsiteX1" fmla="*/ 203808 w 237141"/>
              <a:gd name="connsiteY1" fmla="*/ 177791 h 296376"/>
              <a:gd name="connsiteX2" fmla="*/ 203793 w 237141"/>
              <a:gd name="connsiteY2" fmla="*/ 177791 h 296376"/>
              <a:gd name="connsiteX3" fmla="*/ 33348 w 237141"/>
              <a:gd name="connsiteY3" fmla="*/ 177791 h 296376"/>
              <a:gd name="connsiteX4" fmla="*/ 0 w 237141"/>
              <a:gd name="connsiteY4" fmla="*/ 211110 h 296376"/>
              <a:gd name="connsiteX5" fmla="*/ 0 w 237141"/>
              <a:gd name="connsiteY5" fmla="*/ 211139 h 296376"/>
              <a:gd name="connsiteX6" fmla="*/ 0 w 237141"/>
              <a:gd name="connsiteY6" fmla="*/ 224775 h 296376"/>
              <a:gd name="connsiteX7" fmla="*/ 7559 w 237141"/>
              <a:gd name="connsiteY7" fmla="*/ 248415 h 296376"/>
              <a:gd name="connsiteX8" fmla="*/ 118511 w 237141"/>
              <a:gd name="connsiteY8" fmla="*/ 296377 h 296376"/>
              <a:gd name="connsiteX9" fmla="*/ 229523 w 237141"/>
              <a:gd name="connsiteY9" fmla="*/ 248430 h 296376"/>
              <a:gd name="connsiteX10" fmla="*/ 237141 w 237141"/>
              <a:gd name="connsiteY10" fmla="*/ 224760 h 296376"/>
              <a:gd name="connsiteX11" fmla="*/ 237141 w 237141"/>
              <a:gd name="connsiteY11" fmla="*/ 211139 h 296376"/>
              <a:gd name="connsiteX12" fmla="*/ 192633 w 237141"/>
              <a:gd name="connsiteY12" fmla="*/ 74116 h 296376"/>
              <a:gd name="connsiteX13" fmla="*/ 118535 w 237141"/>
              <a:gd name="connsiteY13" fmla="*/ 0 h 296376"/>
              <a:gd name="connsiteX14" fmla="*/ 58870 w 237141"/>
              <a:gd name="connsiteY14" fmla="*/ 30141 h 296376"/>
              <a:gd name="connsiteX15" fmla="*/ 55550 w 237141"/>
              <a:gd name="connsiteY15" fmla="*/ 29622 h 296376"/>
              <a:gd name="connsiteX16" fmla="*/ 18527 w 237141"/>
              <a:gd name="connsiteY16" fmla="*/ 29622 h 296376"/>
              <a:gd name="connsiteX17" fmla="*/ 7411 w 237141"/>
              <a:gd name="connsiteY17" fmla="*/ 40738 h 296376"/>
              <a:gd name="connsiteX18" fmla="*/ 7411 w 237141"/>
              <a:gd name="connsiteY18" fmla="*/ 122226 h 296376"/>
              <a:gd name="connsiteX19" fmla="*/ 48140 w 237141"/>
              <a:gd name="connsiteY19" fmla="*/ 163014 h 296376"/>
              <a:gd name="connsiteX20" fmla="*/ 48169 w 237141"/>
              <a:gd name="connsiteY20" fmla="*/ 163014 h 296376"/>
              <a:gd name="connsiteX21" fmla="*/ 51875 w 237141"/>
              <a:gd name="connsiteY21" fmla="*/ 163014 h 296376"/>
              <a:gd name="connsiteX22" fmla="*/ 51875 w 237141"/>
              <a:gd name="connsiteY22" fmla="*/ 162955 h 296376"/>
              <a:gd name="connsiteX23" fmla="*/ 52023 w 237141"/>
              <a:gd name="connsiteY23" fmla="*/ 162955 h 296376"/>
              <a:gd name="connsiteX24" fmla="*/ 66838 w 237141"/>
              <a:gd name="connsiteY24" fmla="*/ 148187 h 296376"/>
              <a:gd name="connsiteX25" fmla="*/ 52069 w 237141"/>
              <a:gd name="connsiteY25" fmla="*/ 133372 h 296376"/>
              <a:gd name="connsiteX26" fmla="*/ 40373 w 237141"/>
              <a:gd name="connsiteY26" fmla="*/ 139078 h 296376"/>
              <a:gd name="connsiteX27" fmla="*/ 29643 w 237141"/>
              <a:gd name="connsiteY27" fmla="*/ 122241 h 296376"/>
              <a:gd name="connsiteX28" fmla="*/ 29643 w 237141"/>
              <a:gd name="connsiteY28" fmla="*/ 118550 h 296376"/>
              <a:gd name="connsiteX29" fmla="*/ 40729 w 237141"/>
              <a:gd name="connsiteY29" fmla="*/ 118550 h 296376"/>
              <a:gd name="connsiteX30" fmla="*/ 55847 w 237141"/>
              <a:gd name="connsiteY30" fmla="*/ 113689 h 296376"/>
              <a:gd name="connsiteX31" fmla="*/ 158062 w 237141"/>
              <a:gd name="connsiteY31" fmla="*/ 136832 h 296376"/>
              <a:gd name="connsiteX32" fmla="*/ 192633 w 237141"/>
              <a:gd name="connsiteY32" fmla="*/ 74116 h 296376"/>
              <a:gd name="connsiteX33" fmla="*/ 44420 w 237141"/>
              <a:gd name="connsiteY33" fmla="*/ 72545 h 296376"/>
              <a:gd name="connsiteX34" fmla="*/ 44420 w 237141"/>
              <a:gd name="connsiteY34" fmla="*/ 75687 h 296376"/>
              <a:gd name="connsiteX35" fmla="*/ 44420 w 237141"/>
              <a:gd name="connsiteY35" fmla="*/ 92598 h 296376"/>
              <a:gd name="connsiteX36" fmla="*/ 40714 w 237141"/>
              <a:gd name="connsiteY36" fmla="*/ 96304 h 296376"/>
              <a:gd name="connsiteX37" fmla="*/ 29643 w 237141"/>
              <a:gd name="connsiteY37" fmla="*/ 96304 h 296376"/>
              <a:gd name="connsiteX38" fmla="*/ 29643 w 237141"/>
              <a:gd name="connsiteY38" fmla="*/ 51869 h 296376"/>
              <a:gd name="connsiteX39" fmla="*/ 44434 w 237141"/>
              <a:gd name="connsiteY39" fmla="*/ 51869 h 296376"/>
              <a:gd name="connsiteX40" fmla="*/ 44434 w 237141"/>
              <a:gd name="connsiteY40" fmla="*/ 72545 h 29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37141" h="296376">
                <a:moveTo>
                  <a:pt x="237141" y="211124"/>
                </a:moveTo>
                <a:cubicBezTo>
                  <a:pt x="237141" y="192715"/>
                  <a:pt x="222218" y="177791"/>
                  <a:pt x="203808" y="177791"/>
                </a:cubicBezTo>
                <a:cubicBezTo>
                  <a:pt x="203804" y="177791"/>
                  <a:pt x="203798" y="177791"/>
                  <a:pt x="203793" y="177791"/>
                </a:cubicBezTo>
                <a:lnTo>
                  <a:pt x="33348" y="177791"/>
                </a:lnTo>
                <a:cubicBezTo>
                  <a:pt x="14939" y="177782"/>
                  <a:pt x="8" y="192700"/>
                  <a:pt x="0" y="211110"/>
                </a:cubicBezTo>
                <a:cubicBezTo>
                  <a:pt x="0" y="211120"/>
                  <a:pt x="0" y="211129"/>
                  <a:pt x="0" y="211139"/>
                </a:cubicBezTo>
                <a:lnTo>
                  <a:pt x="0" y="224775"/>
                </a:lnTo>
                <a:cubicBezTo>
                  <a:pt x="0" y="233238"/>
                  <a:pt x="2638" y="241508"/>
                  <a:pt x="7559" y="248415"/>
                </a:cubicBezTo>
                <a:cubicBezTo>
                  <a:pt x="30428" y="280488"/>
                  <a:pt x="67808" y="296377"/>
                  <a:pt x="118511" y="296377"/>
                </a:cubicBezTo>
                <a:cubicBezTo>
                  <a:pt x="169200" y="296377"/>
                  <a:pt x="206624" y="280503"/>
                  <a:pt x="229523" y="248430"/>
                </a:cubicBezTo>
                <a:cubicBezTo>
                  <a:pt x="234466" y="241526"/>
                  <a:pt x="237129" y="233251"/>
                  <a:pt x="237141" y="224760"/>
                </a:cubicBezTo>
                <a:lnTo>
                  <a:pt x="237141" y="211139"/>
                </a:lnTo>
                <a:close/>
                <a:moveTo>
                  <a:pt x="192633" y="74116"/>
                </a:moveTo>
                <a:cubicBezTo>
                  <a:pt x="192637" y="33188"/>
                  <a:pt x="159463" y="5"/>
                  <a:pt x="118535" y="0"/>
                </a:cubicBezTo>
                <a:cubicBezTo>
                  <a:pt x="94988" y="-3"/>
                  <a:pt x="72840" y="11185"/>
                  <a:pt x="58870" y="30141"/>
                </a:cubicBezTo>
                <a:cubicBezTo>
                  <a:pt x="57796" y="29801"/>
                  <a:pt x="56677" y="29626"/>
                  <a:pt x="55550" y="29622"/>
                </a:cubicBezTo>
                <a:lnTo>
                  <a:pt x="18527" y="29622"/>
                </a:lnTo>
                <a:cubicBezTo>
                  <a:pt x="12388" y="29622"/>
                  <a:pt x="7411" y="34599"/>
                  <a:pt x="7411" y="40738"/>
                </a:cubicBezTo>
                <a:lnTo>
                  <a:pt x="7411" y="122226"/>
                </a:lnTo>
                <a:cubicBezTo>
                  <a:pt x="7394" y="144737"/>
                  <a:pt x="25629" y="162998"/>
                  <a:pt x="48140" y="163014"/>
                </a:cubicBezTo>
                <a:cubicBezTo>
                  <a:pt x="48150" y="163014"/>
                  <a:pt x="48159" y="163014"/>
                  <a:pt x="48169" y="163014"/>
                </a:cubicBezTo>
                <a:lnTo>
                  <a:pt x="51875" y="163014"/>
                </a:lnTo>
                <a:lnTo>
                  <a:pt x="51875" y="162955"/>
                </a:lnTo>
                <a:lnTo>
                  <a:pt x="52023" y="162955"/>
                </a:lnTo>
                <a:cubicBezTo>
                  <a:pt x="60192" y="162968"/>
                  <a:pt x="66825" y="156355"/>
                  <a:pt x="66838" y="148187"/>
                </a:cubicBezTo>
                <a:cubicBezTo>
                  <a:pt x="66850" y="140018"/>
                  <a:pt x="60238" y="133385"/>
                  <a:pt x="52069" y="133372"/>
                </a:cubicBezTo>
                <a:cubicBezTo>
                  <a:pt x="47498" y="133364"/>
                  <a:pt x="43181" y="135470"/>
                  <a:pt x="40373" y="139078"/>
                </a:cubicBezTo>
                <a:cubicBezTo>
                  <a:pt x="33820" y="136038"/>
                  <a:pt x="29631" y="129465"/>
                  <a:pt x="29643" y="122241"/>
                </a:cubicBezTo>
                <a:lnTo>
                  <a:pt x="29643" y="118550"/>
                </a:lnTo>
                <a:lnTo>
                  <a:pt x="40729" y="118550"/>
                </a:lnTo>
                <a:cubicBezTo>
                  <a:pt x="46361" y="118550"/>
                  <a:pt x="51593" y="116742"/>
                  <a:pt x="55847" y="113689"/>
                </a:cubicBezTo>
                <a:cubicBezTo>
                  <a:pt x="77682" y="148306"/>
                  <a:pt x="123445" y="158667"/>
                  <a:pt x="158062" y="136832"/>
                </a:cubicBezTo>
                <a:cubicBezTo>
                  <a:pt x="179593" y="123252"/>
                  <a:pt x="192646" y="99572"/>
                  <a:pt x="192633" y="74116"/>
                </a:cubicBezTo>
                <a:close/>
                <a:moveTo>
                  <a:pt x="44420" y="72545"/>
                </a:moveTo>
                <a:cubicBezTo>
                  <a:pt x="44398" y="73592"/>
                  <a:pt x="44398" y="74640"/>
                  <a:pt x="44420" y="75687"/>
                </a:cubicBezTo>
                <a:lnTo>
                  <a:pt x="44420" y="92598"/>
                </a:lnTo>
                <a:cubicBezTo>
                  <a:pt x="44420" y="94645"/>
                  <a:pt x="42761" y="96304"/>
                  <a:pt x="40714" y="96304"/>
                </a:cubicBezTo>
                <a:lnTo>
                  <a:pt x="29643" y="96304"/>
                </a:lnTo>
                <a:lnTo>
                  <a:pt x="29643" y="51869"/>
                </a:lnTo>
                <a:lnTo>
                  <a:pt x="44434" y="51869"/>
                </a:lnTo>
                <a:lnTo>
                  <a:pt x="44434" y="7254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0" name="Graphic 5">
            <a:extLst>
              <a:ext uri="{FF2B5EF4-FFF2-40B4-BE49-F238E27FC236}">
                <a16:creationId xmlns:a16="http://schemas.microsoft.com/office/drawing/2014/main" id="{71C07B2C-5385-20FF-B78D-1D4C4C12C4B7}"/>
              </a:ext>
              <a:ext uri="{C183D7F6-B498-43B3-948B-1728B52AA6E4}">
                <adec:decorative xmlns:adec="http://schemas.microsoft.com/office/drawing/2017/decorative" val="1"/>
              </a:ext>
            </a:extLst>
          </p:cNvPr>
          <p:cNvSpPr/>
          <p:nvPr/>
        </p:nvSpPr>
        <p:spPr>
          <a:xfrm>
            <a:off x="5843385" y="1834468"/>
            <a:ext cx="484004" cy="479546"/>
          </a:xfrm>
          <a:custGeom>
            <a:avLst/>
            <a:gdLst>
              <a:gd name="connsiteX0" fmla="*/ 22232 w 308503"/>
              <a:gd name="connsiteY0" fmla="*/ 163035 h 305660"/>
              <a:gd name="connsiteX1" fmla="*/ 160204 w 308503"/>
              <a:gd name="connsiteY1" fmla="*/ 163035 h 305660"/>
              <a:gd name="connsiteX2" fmla="*/ 133392 w 308503"/>
              <a:gd name="connsiteY2" fmla="*/ 229731 h 305660"/>
              <a:gd name="connsiteX3" fmla="*/ 144345 w 308503"/>
              <a:gd name="connsiteY3" fmla="*/ 274387 h 305660"/>
              <a:gd name="connsiteX4" fmla="*/ 96339 w 308503"/>
              <a:gd name="connsiteY4" fmla="*/ 281605 h 305660"/>
              <a:gd name="connsiteX5" fmla="*/ 74 w 308503"/>
              <a:gd name="connsiteY5" fmla="*/ 218318 h 305660"/>
              <a:gd name="connsiteX6" fmla="*/ 0 w 308503"/>
              <a:gd name="connsiteY6" fmla="*/ 214909 h 305660"/>
              <a:gd name="connsiteX7" fmla="*/ 0 w 308503"/>
              <a:gd name="connsiteY7" fmla="*/ 185267 h 305660"/>
              <a:gd name="connsiteX8" fmla="*/ 20098 w 308503"/>
              <a:gd name="connsiteY8" fmla="*/ 163138 h 305660"/>
              <a:gd name="connsiteX9" fmla="*/ 22232 w 308503"/>
              <a:gd name="connsiteY9" fmla="*/ 163035 h 305660"/>
              <a:gd name="connsiteX10" fmla="*/ 281605 w 308503"/>
              <a:gd name="connsiteY10" fmla="*/ 81517 h 305660"/>
              <a:gd name="connsiteX11" fmla="*/ 229731 w 308503"/>
              <a:gd name="connsiteY11" fmla="*/ 133392 h 305660"/>
              <a:gd name="connsiteX12" fmla="*/ 177856 w 308503"/>
              <a:gd name="connsiteY12" fmla="*/ 81517 h 305660"/>
              <a:gd name="connsiteX13" fmla="*/ 229731 w 308503"/>
              <a:gd name="connsiteY13" fmla="*/ 29643 h 305660"/>
              <a:gd name="connsiteX14" fmla="*/ 281605 w 308503"/>
              <a:gd name="connsiteY14" fmla="*/ 81517 h 305660"/>
              <a:gd name="connsiteX15" fmla="*/ 96339 w 308503"/>
              <a:gd name="connsiteY15" fmla="*/ 0 h 305660"/>
              <a:gd name="connsiteX16" fmla="*/ 163035 w 308503"/>
              <a:gd name="connsiteY16" fmla="*/ 66696 h 305660"/>
              <a:gd name="connsiteX17" fmla="*/ 96339 w 308503"/>
              <a:gd name="connsiteY17" fmla="*/ 133392 h 305660"/>
              <a:gd name="connsiteX18" fmla="*/ 29643 w 308503"/>
              <a:gd name="connsiteY18" fmla="*/ 66696 h 305660"/>
              <a:gd name="connsiteX19" fmla="*/ 96339 w 308503"/>
              <a:gd name="connsiteY19" fmla="*/ 0 h 305660"/>
              <a:gd name="connsiteX20" fmla="*/ 181962 w 308503"/>
              <a:gd name="connsiteY20" fmla="*/ 177485 h 305660"/>
              <a:gd name="connsiteX21" fmla="*/ 161719 w 308503"/>
              <a:gd name="connsiteY21" fmla="*/ 214195 h 305660"/>
              <a:gd name="connsiteX22" fmla="*/ 160604 w 308503"/>
              <a:gd name="connsiteY22" fmla="*/ 214494 h 305660"/>
              <a:gd name="connsiteX23" fmla="*/ 151948 w 308503"/>
              <a:gd name="connsiteY23" fmla="*/ 216629 h 305660"/>
              <a:gd name="connsiteX24" fmla="*/ 152037 w 308503"/>
              <a:gd name="connsiteY24" fmla="*/ 243411 h 305660"/>
              <a:gd name="connsiteX25" fmla="*/ 160041 w 308503"/>
              <a:gd name="connsiteY25" fmla="*/ 245338 h 305660"/>
              <a:gd name="connsiteX26" fmla="*/ 181917 w 308503"/>
              <a:gd name="connsiteY26" fmla="*/ 281097 h 305660"/>
              <a:gd name="connsiteX27" fmla="*/ 181532 w 308503"/>
              <a:gd name="connsiteY27" fmla="*/ 282539 h 305660"/>
              <a:gd name="connsiteX28" fmla="*/ 178760 w 308503"/>
              <a:gd name="connsiteY28" fmla="*/ 291906 h 305660"/>
              <a:gd name="connsiteX29" fmla="*/ 200770 w 308503"/>
              <a:gd name="connsiteY29" fmla="*/ 305557 h 305660"/>
              <a:gd name="connsiteX30" fmla="*/ 208077 w 308503"/>
              <a:gd name="connsiteY30" fmla="*/ 297879 h 305660"/>
              <a:gd name="connsiteX31" fmla="*/ 249984 w 308503"/>
              <a:gd name="connsiteY31" fmla="*/ 296819 h 305660"/>
              <a:gd name="connsiteX32" fmla="*/ 251044 w 308503"/>
              <a:gd name="connsiteY32" fmla="*/ 297879 h 305660"/>
              <a:gd name="connsiteX33" fmla="*/ 258440 w 308503"/>
              <a:gd name="connsiteY33" fmla="*/ 305660 h 305660"/>
              <a:gd name="connsiteX34" fmla="*/ 280405 w 308503"/>
              <a:gd name="connsiteY34" fmla="*/ 292128 h 305660"/>
              <a:gd name="connsiteX35" fmla="*/ 277470 w 308503"/>
              <a:gd name="connsiteY35" fmla="*/ 281961 h 305660"/>
              <a:gd name="connsiteX36" fmla="*/ 297735 w 308503"/>
              <a:gd name="connsiteY36" fmla="*/ 245263 h 305660"/>
              <a:gd name="connsiteX37" fmla="*/ 298843 w 308503"/>
              <a:gd name="connsiteY37" fmla="*/ 244967 h 305660"/>
              <a:gd name="connsiteX38" fmla="*/ 307483 w 308503"/>
              <a:gd name="connsiteY38" fmla="*/ 242833 h 305660"/>
              <a:gd name="connsiteX39" fmla="*/ 307394 w 308503"/>
              <a:gd name="connsiteY39" fmla="*/ 216036 h 305660"/>
              <a:gd name="connsiteX40" fmla="*/ 299391 w 308503"/>
              <a:gd name="connsiteY40" fmla="*/ 214109 h 305660"/>
              <a:gd name="connsiteX41" fmla="*/ 277531 w 308503"/>
              <a:gd name="connsiteY41" fmla="*/ 178338 h 305660"/>
              <a:gd name="connsiteX42" fmla="*/ 277915 w 308503"/>
              <a:gd name="connsiteY42" fmla="*/ 176907 h 305660"/>
              <a:gd name="connsiteX43" fmla="*/ 280672 w 308503"/>
              <a:gd name="connsiteY43" fmla="*/ 167570 h 305660"/>
              <a:gd name="connsiteX44" fmla="*/ 258677 w 308503"/>
              <a:gd name="connsiteY44" fmla="*/ 153890 h 305660"/>
              <a:gd name="connsiteX45" fmla="*/ 251370 w 308503"/>
              <a:gd name="connsiteY45" fmla="*/ 161582 h 305660"/>
              <a:gd name="connsiteX46" fmla="*/ 209462 w 308503"/>
              <a:gd name="connsiteY46" fmla="*/ 162657 h 305660"/>
              <a:gd name="connsiteX47" fmla="*/ 208388 w 308503"/>
              <a:gd name="connsiteY47" fmla="*/ 161582 h 305660"/>
              <a:gd name="connsiteX48" fmla="*/ 201007 w 308503"/>
              <a:gd name="connsiteY48" fmla="*/ 153801 h 305660"/>
              <a:gd name="connsiteX49" fmla="*/ 179027 w 308503"/>
              <a:gd name="connsiteY49" fmla="*/ 167318 h 305660"/>
              <a:gd name="connsiteX50" fmla="*/ 181962 w 308503"/>
              <a:gd name="connsiteY50" fmla="*/ 177485 h 305660"/>
              <a:gd name="connsiteX51" fmla="*/ 229731 w 308503"/>
              <a:gd name="connsiteY51" fmla="*/ 251963 h 305660"/>
              <a:gd name="connsiteX52" fmla="*/ 208240 w 308503"/>
              <a:gd name="connsiteY52" fmla="*/ 229731 h 305660"/>
              <a:gd name="connsiteX53" fmla="*/ 229731 w 308503"/>
              <a:gd name="connsiteY53" fmla="*/ 207499 h 305660"/>
              <a:gd name="connsiteX54" fmla="*/ 251222 w 308503"/>
              <a:gd name="connsiteY54" fmla="*/ 229731 h 305660"/>
              <a:gd name="connsiteX55" fmla="*/ 229731 w 308503"/>
              <a:gd name="connsiteY55" fmla="*/ 251963 h 30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08503" h="305660">
                <a:moveTo>
                  <a:pt x="22232" y="163035"/>
                </a:moveTo>
                <a:lnTo>
                  <a:pt x="160204" y="163035"/>
                </a:lnTo>
                <a:cubicBezTo>
                  <a:pt x="142967" y="180957"/>
                  <a:pt x="133356" y="204865"/>
                  <a:pt x="133392" y="229731"/>
                </a:cubicBezTo>
                <a:cubicBezTo>
                  <a:pt x="133392" y="245841"/>
                  <a:pt x="137349" y="261033"/>
                  <a:pt x="144345" y="274387"/>
                </a:cubicBezTo>
                <a:cubicBezTo>
                  <a:pt x="128783" y="279575"/>
                  <a:pt x="111619" y="281605"/>
                  <a:pt x="96339" y="281605"/>
                </a:cubicBezTo>
                <a:cubicBezTo>
                  <a:pt x="55995" y="281605"/>
                  <a:pt x="2446" y="267436"/>
                  <a:pt x="74" y="218318"/>
                </a:cubicBezTo>
                <a:lnTo>
                  <a:pt x="0" y="214909"/>
                </a:lnTo>
                <a:lnTo>
                  <a:pt x="0" y="185267"/>
                </a:lnTo>
                <a:cubicBezTo>
                  <a:pt x="1" y="173816"/>
                  <a:pt x="8699" y="164238"/>
                  <a:pt x="20098" y="163138"/>
                </a:cubicBezTo>
                <a:lnTo>
                  <a:pt x="22232" y="163035"/>
                </a:lnTo>
                <a:close/>
                <a:moveTo>
                  <a:pt x="281605" y="81517"/>
                </a:moveTo>
                <a:cubicBezTo>
                  <a:pt x="281605" y="110167"/>
                  <a:pt x="258380" y="133392"/>
                  <a:pt x="229731" y="133392"/>
                </a:cubicBezTo>
                <a:cubicBezTo>
                  <a:pt x="201081" y="133392"/>
                  <a:pt x="177856" y="110167"/>
                  <a:pt x="177856" y="81517"/>
                </a:cubicBezTo>
                <a:cubicBezTo>
                  <a:pt x="177856" y="52868"/>
                  <a:pt x="201081" y="29643"/>
                  <a:pt x="229731" y="29643"/>
                </a:cubicBezTo>
                <a:cubicBezTo>
                  <a:pt x="258380" y="29643"/>
                  <a:pt x="281605" y="52868"/>
                  <a:pt x="281605" y="81517"/>
                </a:cubicBezTo>
                <a:close/>
                <a:moveTo>
                  <a:pt x="96339" y="0"/>
                </a:moveTo>
                <a:cubicBezTo>
                  <a:pt x="133174" y="0"/>
                  <a:pt x="163035" y="29861"/>
                  <a:pt x="163035" y="66696"/>
                </a:cubicBezTo>
                <a:cubicBezTo>
                  <a:pt x="163035" y="103531"/>
                  <a:pt x="133174" y="133392"/>
                  <a:pt x="96339" y="133392"/>
                </a:cubicBezTo>
                <a:cubicBezTo>
                  <a:pt x="59504" y="133392"/>
                  <a:pt x="29643" y="103531"/>
                  <a:pt x="29643" y="66696"/>
                </a:cubicBezTo>
                <a:cubicBezTo>
                  <a:pt x="29643" y="29861"/>
                  <a:pt x="59504" y="0"/>
                  <a:pt x="96339" y="0"/>
                </a:cubicBezTo>
                <a:close/>
                <a:moveTo>
                  <a:pt x="181962" y="177485"/>
                </a:moveTo>
                <a:cubicBezTo>
                  <a:pt x="186509" y="193212"/>
                  <a:pt x="177445" y="209648"/>
                  <a:pt x="161719" y="214195"/>
                </a:cubicBezTo>
                <a:cubicBezTo>
                  <a:pt x="161349" y="214302"/>
                  <a:pt x="160977" y="214402"/>
                  <a:pt x="160604" y="214494"/>
                </a:cubicBezTo>
                <a:lnTo>
                  <a:pt x="151948" y="216629"/>
                </a:lnTo>
                <a:cubicBezTo>
                  <a:pt x="150561" y="225505"/>
                  <a:pt x="150591" y="234545"/>
                  <a:pt x="152037" y="243411"/>
                </a:cubicBezTo>
                <a:lnTo>
                  <a:pt x="160041" y="245338"/>
                </a:lnTo>
                <a:cubicBezTo>
                  <a:pt x="175957" y="249172"/>
                  <a:pt x="185751" y="265182"/>
                  <a:pt x="181917" y="281097"/>
                </a:cubicBezTo>
                <a:cubicBezTo>
                  <a:pt x="181801" y="281582"/>
                  <a:pt x="181672" y="282062"/>
                  <a:pt x="181532" y="282539"/>
                </a:cubicBezTo>
                <a:lnTo>
                  <a:pt x="178760" y="291906"/>
                </a:lnTo>
                <a:cubicBezTo>
                  <a:pt x="185282" y="297627"/>
                  <a:pt x="192692" y="302266"/>
                  <a:pt x="200770" y="305557"/>
                </a:cubicBezTo>
                <a:lnTo>
                  <a:pt x="208077" y="297879"/>
                </a:lnTo>
                <a:cubicBezTo>
                  <a:pt x="219357" y="286015"/>
                  <a:pt x="238120" y="285540"/>
                  <a:pt x="249984" y="296819"/>
                </a:cubicBezTo>
                <a:cubicBezTo>
                  <a:pt x="250346" y="297163"/>
                  <a:pt x="250700" y="297518"/>
                  <a:pt x="251044" y="297879"/>
                </a:cubicBezTo>
                <a:lnTo>
                  <a:pt x="258440" y="305660"/>
                </a:lnTo>
                <a:cubicBezTo>
                  <a:pt x="266459" y="302395"/>
                  <a:pt x="273882" y="297823"/>
                  <a:pt x="280405" y="292128"/>
                </a:cubicBezTo>
                <a:lnTo>
                  <a:pt x="277470" y="281961"/>
                </a:lnTo>
                <a:cubicBezTo>
                  <a:pt x="272932" y="266231"/>
                  <a:pt x="282006" y="249802"/>
                  <a:pt x="297735" y="245263"/>
                </a:cubicBezTo>
                <a:cubicBezTo>
                  <a:pt x="298103" y="245158"/>
                  <a:pt x="298472" y="245059"/>
                  <a:pt x="298843" y="244967"/>
                </a:cubicBezTo>
                <a:lnTo>
                  <a:pt x="307483" y="242833"/>
                </a:lnTo>
                <a:cubicBezTo>
                  <a:pt x="308872" y="233952"/>
                  <a:pt x="308843" y="224908"/>
                  <a:pt x="307394" y="216036"/>
                </a:cubicBezTo>
                <a:lnTo>
                  <a:pt x="299391" y="214109"/>
                </a:lnTo>
                <a:cubicBezTo>
                  <a:pt x="283477" y="210267"/>
                  <a:pt x="273689" y="194253"/>
                  <a:pt x="277531" y="178338"/>
                </a:cubicBezTo>
                <a:cubicBezTo>
                  <a:pt x="277647" y="177859"/>
                  <a:pt x="277776" y="177382"/>
                  <a:pt x="277915" y="176907"/>
                </a:cubicBezTo>
                <a:lnTo>
                  <a:pt x="280672" y="167570"/>
                </a:lnTo>
                <a:cubicBezTo>
                  <a:pt x="274152" y="161819"/>
                  <a:pt x="266717" y="157197"/>
                  <a:pt x="258677" y="153890"/>
                </a:cubicBezTo>
                <a:lnTo>
                  <a:pt x="251370" y="161582"/>
                </a:lnTo>
                <a:cubicBezTo>
                  <a:pt x="240094" y="173451"/>
                  <a:pt x="221331" y="173933"/>
                  <a:pt x="209462" y="162657"/>
                </a:cubicBezTo>
                <a:cubicBezTo>
                  <a:pt x="209095" y="162308"/>
                  <a:pt x="208736" y="161950"/>
                  <a:pt x="208388" y="161582"/>
                </a:cubicBezTo>
                <a:lnTo>
                  <a:pt x="201007" y="153801"/>
                </a:lnTo>
                <a:cubicBezTo>
                  <a:pt x="192944" y="157062"/>
                  <a:pt x="185533" y="161656"/>
                  <a:pt x="179027" y="167318"/>
                </a:cubicBezTo>
                <a:lnTo>
                  <a:pt x="181962" y="177485"/>
                </a:lnTo>
                <a:close/>
                <a:moveTo>
                  <a:pt x="229731" y="251963"/>
                </a:moveTo>
                <a:cubicBezTo>
                  <a:pt x="217874" y="251963"/>
                  <a:pt x="208240" y="242003"/>
                  <a:pt x="208240" y="229731"/>
                </a:cubicBezTo>
                <a:cubicBezTo>
                  <a:pt x="208240" y="217444"/>
                  <a:pt x="217874" y="207499"/>
                  <a:pt x="229731" y="207499"/>
                </a:cubicBezTo>
                <a:cubicBezTo>
                  <a:pt x="241588" y="207499"/>
                  <a:pt x="251222" y="217444"/>
                  <a:pt x="251222" y="229731"/>
                </a:cubicBezTo>
                <a:cubicBezTo>
                  <a:pt x="251222" y="242003"/>
                  <a:pt x="241588" y="251963"/>
                  <a:pt x="229731" y="251963"/>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5" name="Graphic 6">
            <a:extLst>
              <a:ext uri="{FF2B5EF4-FFF2-40B4-BE49-F238E27FC236}">
                <a16:creationId xmlns:a16="http://schemas.microsoft.com/office/drawing/2014/main" id="{550DE085-9727-4EE2-072B-958D977F57DE}"/>
              </a:ext>
              <a:ext uri="{C183D7F6-B498-43B3-948B-1728B52AA6E4}">
                <adec:decorative xmlns:adec="http://schemas.microsoft.com/office/drawing/2017/decorative" val="1"/>
              </a:ext>
            </a:extLst>
          </p:cNvPr>
          <p:cNvSpPr/>
          <p:nvPr/>
        </p:nvSpPr>
        <p:spPr>
          <a:xfrm>
            <a:off x="9484516" y="1834468"/>
            <a:ext cx="479546" cy="47954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grpSp>
        <p:nvGrpSpPr>
          <p:cNvPr id="46" name="Group 45">
            <a:extLst>
              <a:ext uri="{FF2B5EF4-FFF2-40B4-BE49-F238E27FC236}">
                <a16:creationId xmlns:a16="http://schemas.microsoft.com/office/drawing/2014/main" id="{46FA2823-24E3-274D-4828-A007FE1F1D7C}"/>
              </a:ext>
              <a:ext uri="{C183D7F6-B498-43B3-948B-1728B52AA6E4}">
                <adec:decorative xmlns:adec="http://schemas.microsoft.com/office/drawing/2017/decorative" val="1"/>
              </a:ext>
            </a:extLst>
          </p:cNvPr>
          <p:cNvGrpSpPr/>
          <p:nvPr/>
        </p:nvGrpSpPr>
        <p:grpSpPr>
          <a:xfrm>
            <a:off x="909223" y="4522236"/>
            <a:ext cx="518930" cy="518930"/>
            <a:chOff x="632462" y="5834381"/>
            <a:chExt cx="396238" cy="396238"/>
          </a:xfrm>
        </p:grpSpPr>
        <p:sp>
          <p:nvSpPr>
            <p:cNvPr id="47" name="Freeform: Shape 115">
              <a:extLst>
                <a:ext uri="{FF2B5EF4-FFF2-40B4-BE49-F238E27FC236}">
                  <a16:creationId xmlns:a16="http://schemas.microsoft.com/office/drawing/2014/main" id="{FF246A9C-9882-9E05-7657-569692785013}"/>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8" name="Graphic 255" descr="Icona di un dito che tocca uno schermo">
              <a:extLst>
                <a:ext uri="{FF2B5EF4-FFF2-40B4-BE49-F238E27FC236}">
                  <a16:creationId xmlns:a16="http://schemas.microsoft.com/office/drawing/2014/main" id="{28D9AF22-0DB2-C64A-31D2-1F55F81B7673}"/>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49" name="Group 48">
            <a:extLst>
              <a:ext uri="{FF2B5EF4-FFF2-40B4-BE49-F238E27FC236}">
                <a16:creationId xmlns:a16="http://schemas.microsoft.com/office/drawing/2014/main" id="{D2F384E1-7FD4-C245-F507-217F49F14C46}"/>
              </a:ext>
              <a:ext uri="{C183D7F6-B498-43B3-948B-1728B52AA6E4}">
                <adec:decorative xmlns:adec="http://schemas.microsoft.com/office/drawing/2017/decorative" val="1"/>
              </a:ext>
            </a:extLst>
          </p:cNvPr>
          <p:cNvGrpSpPr/>
          <p:nvPr/>
        </p:nvGrpSpPr>
        <p:grpSpPr>
          <a:xfrm>
            <a:off x="4530708" y="4522236"/>
            <a:ext cx="518930" cy="518930"/>
            <a:chOff x="632462" y="5834381"/>
            <a:chExt cx="396238" cy="396238"/>
          </a:xfrm>
        </p:grpSpPr>
        <p:sp>
          <p:nvSpPr>
            <p:cNvPr id="50" name="Freeform: Shape 115">
              <a:extLst>
                <a:ext uri="{FF2B5EF4-FFF2-40B4-BE49-F238E27FC236}">
                  <a16:creationId xmlns:a16="http://schemas.microsoft.com/office/drawing/2014/main" id="{844C3B0A-085E-ED01-0723-E92574F558FC}"/>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1" name="Graphic 255" descr="Icona di un dito che tocca uno schermo">
              <a:extLst>
                <a:ext uri="{FF2B5EF4-FFF2-40B4-BE49-F238E27FC236}">
                  <a16:creationId xmlns:a16="http://schemas.microsoft.com/office/drawing/2014/main" id="{2A9BFABE-1A21-4EEF-2D5E-EBF2599AB15D}"/>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52" name="Group 51">
            <a:extLst>
              <a:ext uri="{FF2B5EF4-FFF2-40B4-BE49-F238E27FC236}">
                <a16:creationId xmlns:a16="http://schemas.microsoft.com/office/drawing/2014/main" id="{93A158F8-C083-EC61-E920-CE0515DE586B}"/>
              </a:ext>
              <a:ext uri="{C183D7F6-B498-43B3-948B-1728B52AA6E4}">
                <adec:decorative xmlns:adec="http://schemas.microsoft.com/office/drawing/2017/decorative" val="1"/>
              </a:ext>
            </a:extLst>
          </p:cNvPr>
          <p:cNvGrpSpPr/>
          <p:nvPr/>
        </p:nvGrpSpPr>
        <p:grpSpPr>
          <a:xfrm>
            <a:off x="8169611" y="4522236"/>
            <a:ext cx="518930" cy="518930"/>
            <a:chOff x="632462" y="5834381"/>
            <a:chExt cx="396238" cy="396238"/>
          </a:xfrm>
        </p:grpSpPr>
        <p:sp>
          <p:nvSpPr>
            <p:cNvPr id="53" name="Freeform: Shape 115">
              <a:extLst>
                <a:ext uri="{FF2B5EF4-FFF2-40B4-BE49-F238E27FC236}">
                  <a16:creationId xmlns:a16="http://schemas.microsoft.com/office/drawing/2014/main" id="{323855ED-6191-A38E-650D-8A32D451EBDF}"/>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4" name="Graphic 255" descr="Icona di un dito che tocca uno schermo">
              <a:extLst>
                <a:ext uri="{FF2B5EF4-FFF2-40B4-BE49-F238E27FC236}">
                  <a16:creationId xmlns:a16="http://schemas.microsoft.com/office/drawing/2014/main" id="{3A73A677-766E-3260-EC80-2A14347B3BBA}"/>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321255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dec="http://schemas.microsoft.com/office/drawing/2017/decorative"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nodeType="withEffect">
                                  <p:stCondLst>
                                    <p:cond delay="0"/>
                                  </p:stCondLst>
                                  <p:childTnLst>
                                    <p:animMotion origin="layout" path="M 1.25E-6 0.03889 L 1.25E-6 1.85185E-6 " pathEditMode="relative" rAng="0" ptsTypes="AA">
                                      <p:cBhvr>
                                        <p:cTn id="9" dur="500" fill="hold"/>
                                        <p:tgtEl>
                                          <p:spTgt spid="2"/>
                                        </p:tgtEl>
                                        <p:attrNameLst>
                                          <p:attrName>ppt_x</p:attrName>
                                          <p:attrName>ppt_y</p:attrName>
                                        </p:attrNameLst>
                                      </p:cBhvr>
                                      <p:rCtr x="0" y="-1944"/>
                                    </p:animMotion>
                                  </p:childTnLst>
                                </p:cTn>
                              </p:par>
                            </p:childTnLst>
                          </p:cTn>
                        </p:par>
                        <p:par>
                          <p:cTn id="10" fill="hold">
                            <p:stCondLst>
                              <p:cond delay="500"/>
                            </p:stCondLst>
                            <p:childTnLst>
                              <p:par>
                                <p:cTn id="11" presetID="22" presetClass="entr" presetSubtype="1"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up)">
                                      <p:cBhvr>
                                        <p:cTn id="13" dur="250"/>
                                        <p:tgtEl>
                                          <p:spTgt spid="6"/>
                                        </p:tgtEl>
                                      </p:cBhvr>
                                    </p:animEffect>
                                  </p:childTnLst>
                                </p:cTn>
                              </p:par>
                            </p:childTnLst>
                          </p:cTn>
                        </p:par>
                        <p:par>
                          <p:cTn id="14" fill="hold">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250"/>
                                        <p:tgtEl>
                                          <p:spTgt spid="7"/>
                                        </p:tgtEl>
                                      </p:cBhvr>
                                    </p:animEffect>
                                  </p:childTnLst>
                                </p:cTn>
                              </p:par>
                              <p:par>
                                <p:cTn id="18" presetID="42" presetClass="path" presetSubtype="0" decel="100000" fill="hold" grpId="1" nodeType="withEffect">
                                  <p:stCondLst>
                                    <p:cond delay="0"/>
                                  </p:stCondLst>
                                  <p:childTnLst>
                                    <p:animMotion origin="layout" path="M 1.25E-6 0.03889 L 1.25E-6 1.85185E-6 " pathEditMode="relative" rAng="0" ptsTypes="AA">
                                      <p:cBhvr>
                                        <p:cTn id="19" dur="500" fill="hold"/>
                                        <p:tgtEl>
                                          <p:spTgt spid="7"/>
                                        </p:tgtEl>
                                        <p:attrNameLst>
                                          <p:attrName>ppt_x</p:attrName>
                                          <p:attrName>ppt_y</p:attrName>
                                        </p:attrNameLst>
                                      </p:cBhvr>
                                      <p:rCtr x="0" y="-1944"/>
                                    </p:animMotion>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250"/>
                                        <p:tgtEl>
                                          <p:spTgt spid="13"/>
                                        </p:tgtEl>
                                      </p:cBhvr>
                                    </p:animEffect>
                                  </p:childTnLst>
                                </p:cTn>
                              </p:par>
                              <p:par>
                                <p:cTn id="23" presetID="42" presetClass="path" presetSubtype="0" decel="100000" fill="hold" grpId="1" nodeType="withEffect">
                                  <p:stCondLst>
                                    <p:cond delay="0"/>
                                  </p:stCondLst>
                                  <p:childTnLst>
                                    <p:animMotion origin="layout" path="M 1.25E-6 0.03889 L 1.25E-6 1.85185E-6 " pathEditMode="relative" rAng="0" ptsTypes="AA">
                                      <p:cBhvr>
                                        <p:cTn id="24" dur="500" fill="hold"/>
                                        <p:tgtEl>
                                          <p:spTgt spid="13"/>
                                        </p:tgtEl>
                                        <p:attrNameLst>
                                          <p:attrName>ppt_x</p:attrName>
                                          <p:attrName>ppt_y</p:attrName>
                                        </p:attrNameLst>
                                      </p:cBhvr>
                                      <p:rCtr x="0" y="-1944"/>
                                    </p:animMotion>
                                  </p:childTnLst>
                                </p:cTn>
                              </p:par>
                              <p:par>
                                <p:cTn id="25" presetID="10"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250"/>
                                        <p:tgtEl>
                                          <p:spTgt spid="17"/>
                                        </p:tgtEl>
                                      </p:cBhvr>
                                    </p:animEffect>
                                  </p:childTnLst>
                                </p:cTn>
                              </p:par>
                              <p:par>
                                <p:cTn id="28" presetID="42" presetClass="path" presetSubtype="0" decel="100000" fill="hold" grpId="1" nodeType="withEffect">
                                  <p:stCondLst>
                                    <p:cond delay="0"/>
                                  </p:stCondLst>
                                  <p:childTnLst>
                                    <p:animMotion origin="layout" path="M 1.25E-6 0.03889 L 1.25E-6 1.85185E-6 " pathEditMode="relative" rAng="0" ptsTypes="AA">
                                      <p:cBhvr>
                                        <p:cTn id="29" dur="500" fill="hold"/>
                                        <p:tgtEl>
                                          <p:spTgt spid="17"/>
                                        </p:tgtEl>
                                        <p:attrNameLst>
                                          <p:attrName>ppt_x</p:attrName>
                                          <p:attrName>ppt_y</p:attrName>
                                        </p:attrNameLst>
                                      </p:cBhvr>
                                      <p:rCtr x="0" y="-1944"/>
                                    </p:animMotion>
                                  </p:childTnLst>
                                </p:cTn>
                              </p:par>
                              <p:par>
                                <p:cTn id="30" presetID="10" presetClass="entr" presetSubtype="0"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250"/>
                                        <p:tgtEl>
                                          <p:spTgt spid="18"/>
                                        </p:tgtEl>
                                      </p:cBhvr>
                                    </p:animEffect>
                                  </p:childTnLst>
                                </p:cTn>
                              </p:par>
                              <p:par>
                                <p:cTn id="33" presetID="42" presetClass="path" presetSubtype="0" decel="100000" fill="hold" grpId="1" nodeType="withEffect">
                                  <p:stCondLst>
                                    <p:cond delay="0"/>
                                  </p:stCondLst>
                                  <p:childTnLst>
                                    <p:animMotion origin="layout" path="M 1.25E-6 0.03889 L 1.25E-6 1.85185E-6 " pathEditMode="relative" rAng="0" ptsTypes="AA">
                                      <p:cBhvr>
                                        <p:cTn id="34" dur="500" fill="hold"/>
                                        <p:tgtEl>
                                          <p:spTgt spid="18"/>
                                        </p:tgtEl>
                                        <p:attrNameLst>
                                          <p:attrName>ppt_x</p:attrName>
                                          <p:attrName>ppt_y</p:attrName>
                                        </p:attrNameLst>
                                      </p:cBhvr>
                                      <p:rCtr x="0" y="-1944"/>
                                    </p:animMotion>
                                  </p:childTnLst>
                                </p:cTn>
                              </p:par>
                              <p:par>
                                <p:cTn id="35" presetID="10"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250"/>
                                        <p:tgtEl>
                                          <p:spTgt spid="19"/>
                                        </p:tgtEl>
                                      </p:cBhvr>
                                    </p:animEffect>
                                  </p:childTnLst>
                                </p:cTn>
                              </p:par>
                              <p:par>
                                <p:cTn id="38" presetID="42" presetClass="path" presetSubtype="0" decel="100000" fill="hold" grpId="1" nodeType="withEffect">
                                  <p:stCondLst>
                                    <p:cond delay="0"/>
                                  </p:stCondLst>
                                  <p:childTnLst>
                                    <p:animMotion origin="layout" path="M 1.25E-6 0.03889 L 1.25E-6 1.85185E-6 " pathEditMode="relative" rAng="0" ptsTypes="AA">
                                      <p:cBhvr>
                                        <p:cTn id="39" dur="500" fill="hold"/>
                                        <p:tgtEl>
                                          <p:spTgt spid="19"/>
                                        </p:tgtEl>
                                        <p:attrNameLst>
                                          <p:attrName>ppt_x</p:attrName>
                                          <p:attrName>ppt_y</p:attrName>
                                        </p:attrNameLst>
                                      </p:cBhvr>
                                      <p:rCtr x="0" y="-1944"/>
                                    </p:animMotion>
                                  </p:childTnLst>
                                </p:cTn>
                              </p:par>
                              <p:par>
                                <p:cTn id="40" presetID="10" presetClass="entr" presetSubtype="0" fill="hold" grpId="0" nodeType="with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250"/>
                                        <p:tgtEl>
                                          <p:spTgt spid="35"/>
                                        </p:tgtEl>
                                      </p:cBhvr>
                                    </p:animEffect>
                                  </p:childTnLst>
                                </p:cTn>
                              </p:par>
                              <p:par>
                                <p:cTn id="43" presetID="42" presetClass="path" presetSubtype="0" decel="100000" fill="hold" grpId="1" nodeType="withEffect">
                                  <p:stCondLst>
                                    <p:cond delay="0"/>
                                  </p:stCondLst>
                                  <p:childTnLst>
                                    <p:animMotion origin="layout" path="M 1.25E-6 0.03889 L 1.25E-6 1.85185E-6 " pathEditMode="relative" rAng="0" ptsTypes="AA">
                                      <p:cBhvr>
                                        <p:cTn id="44" dur="500" fill="hold"/>
                                        <p:tgtEl>
                                          <p:spTgt spid="35"/>
                                        </p:tgtEl>
                                        <p:attrNameLst>
                                          <p:attrName>ppt_x</p:attrName>
                                          <p:attrName>ppt_y</p:attrName>
                                        </p:attrNameLst>
                                      </p:cBhvr>
                                      <p:rCtr x="0" y="-1944"/>
                                    </p:animMotion>
                                  </p:childTnLst>
                                </p:cTn>
                              </p:par>
                              <p:par>
                                <p:cTn id="45" presetID="10" presetClass="entr" presetSubtype="0" fill="hold" grpId="0" nodeType="with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250"/>
                                        <p:tgtEl>
                                          <p:spTgt spid="38"/>
                                        </p:tgtEl>
                                      </p:cBhvr>
                                    </p:animEffect>
                                  </p:childTnLst>
                                </p:cTn>
                              </p:par>
                              <p:par>
                                <p:cTn id="48" presetID="42" presetClass="path" presetSubtype="0" decel="100000" fill="hold" grpId="1" nodeType="withEffect">
                                  <p:stCondLst>
                                    <p:cond delay="0"/>
                                  </p:stCondLst>
                                  <p:childTnLst>
                                    <p:animMotion origin="layout" path="M 1.25E-6 0.03889 L 1.25E-6 1.85185E-6 " pathEditMode="relative" rAng="0" ptsTypes="AA">
                                      <p:cBhvr>
                                        <p:cTn id="49" dur="500" fill="hold"/>
                                        <p:tgtEl>
                                          <p:spTgt spid="38"/>
                                        </p:tgtEl>
                                        <p:attrNameLst>
                                          <p:attrName>ppt_x</p:attrName>
                                          <p:attrName>ppt_y</p:attrName>
                                        </p:attrNameLst>
                                      </p:cBhvr>
                                      <p:rCtr x="0" y="-1944"/>
                                    </p:animMotion>
                                  </p:childTnLst>
                                </p:cTn>
                              </p:par>
                              <p:par>
                                <p:cTn id="50" presetID="10" presetClass="entr" presetSubtype="0" fill="hold" grpId="0" nodeType="withEffect">
                                  <p:stCondLst>
                                    <p:cond delay="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250"/>
                                        <p:tgtEl>
                                          <p:spTgt spid="40"/>
                                        </p:tgtEl>
                                      </p:cBhvr>
                                    </p:animEffect>
                                  </p:childTnLst>
                                </p:cTn>
                              </p:par>
                              <p:par>
                                <p:cTn id="53" presetID="42" presetClass="path" presetSubtype="0" decel="100000" fill="hold" grpId="1" nodeType="withEffect">
                                  <p:stCondLst>
                                    <p:cond delay="0"/>
                                  </p:stCondLst>
                                  <p:childTnLst>
                                    <p:animMotion origin="layout" path="M 1.25E-6 0.03889 L 1.25E-6 1.85185E-6 " pathEditMode="relative" rAng="0" ptsTypes="AA">
                                      <p:cBhvr>
                                        <p:cTn id="54" dur="500" fill="hold"/>
                                        <p:tgtEl>
                                          <p:spTgt spid="40"/>
                                        </p:tgtEl>
                                        <p:attrNameLst>
                                          <p:attrName>ppt_x</p:attrName>
                                          <p:attrName>ppt_y</p:attrName>
                                        </p:attrNameLst>
                                      </p:cBhvr>
                                      <p:rCtr x="0" y="-1944"/>
                                    </p:animMotion>
                                  </p:childTnLst>
                                </p:cTn>
                              </p:par>
                              <p:par>
                                <p:cTn id="55" presetID="10" presetClass="entr" presetSubtype="0" fill="hold" grpId="0" nodeType="withEffect">
                                  <p:stCondLst>
                                    <p:cond delay="0"/>
                                  </p:stCondLst>
                                  <p:childTnLst>
                                    <p:set>
                                      <p:cBhvr>
                                        <p:cTn id="56" dur="1" fill="hold">
                                          <p:stCondLst>
                                            <p:cond delay="0"/>
                                          </p:stCondLst>
                                        </p:cTn>
                                        <p:tgtEl>
                                          <p:spTgt spid="41"/>
                                        </p:tgtEl>
                                        <p:attrNameLst>
                                          <p:attrName>style.visibility</p:attrName>
                                        </p:attrNameLst>
                                      </p:cBhvr>
                                      <p:to>
                                        <p:strVal val="visible"/>
                                      </p:to>
                                    </p:set>
                                    <p:animEffect transition="in" filter="fade">
                                      <p:cBhvr>
                                        <p:cTn id="57" dur="250"/>
                                        <p:tgtEl>
                                          <p:spTgt spid="41"/>
                                        </p:tgtEl>
                                      </p:cBhvr>
                                    </p:animEffect>
                                  </p:childTnLst>
                                </p:cTn>
                              </p:par>
                              <p:par>
                                <p:cTn id="58" presetID="42" presetClass="path" presetSubtype="0" decel="100000" fill="hold" grpId="1" nodeType="withEffect">
                                  <p:stCondLst>
                                    <p:cond delay="0"/>
                                  </p:stCondLst>
                                  <p:childTnLst>
                                    <p:animMotion origin="layout" path="M 1.25E-6 0.03889 L 1.25E-6 1.85185E-6 " pathEditMode="relative" rAng="0" ptsTypes="AA">
                                      <p:cBhvr>
                                        <p:cTn id="59" dur="500" fill="hold"/>
                                        <p:tgtEl>
                                          <p:spTgt spid="41"/>
                                        </p:tgtEl>
                                        <p:attrNameLst>
                                          <p:attrName>ppt_x</p:attrName>
                                          <p:attrName>ppt_y</p:attrName>
                                        </p:attrNameLst>
                                      </p:cBhvr>
                                      <p:rCtr x="0" y="-1944"/>
                                    </p:animMotion>
                                  </p:childTnLst>
                                </p:cTn>
                              </p:par>
                              <p:par>
                                <p:cTn id="60" presetID="10" presetClass="entr" presetSubtype="0" fill="hold" nodeType="withEffect">
                                  <p:stCondLst>
                                    <p:cond delay="0"/>
                                  </p:stCondLst>
                                  <p:childTnLst>
                                    <p:set>
                                      <p:cBhvr>
                                        <p:cTn id="61" dur="1" fill="hold">
                                          <p:stCondLst>
                                            <p:cond delay="0"/>
                                          </p:stCondLst>
                                        </p:cTn>
                                        <p:tgtEl>
                                          <p:spTgt spid="46"/>
                                        </p:tgtEl>
                                        <p:attrNameLst>
                                          <p:attrName>style.visibility</p:attrName>
                                        </p:attrNameLst>
                                      </p:cBhvr>
                                      <p:to>
                                        <p:strVal val="visible"/>
                                      </p:to>
                                    </p:set>
                                    <p:animEffect transition="in" filter="fade">
                                      <p:cBhvr>
                                        <p:cTn id="62" dur="250"/>
                                        <p:tgtEl>
                                          <p:spTgt spid="46"/>
                                        </p:tgtEl>
                                      </p:cBhvr>
                                    </p:animEffect>
                                  </p:childTnLst>
                                </p:cTn>
                              </p:par>
                              <p:par>
                                <p:cTn id="63" presetID="42" presetClass="path" presetSubtype="0" decel="100000" fill="hold" nodeType="withEffect">
                                  <p:stCondLst>
                                    <p:cond delay="0"/>
                                  </p:stCondLst>
                                  <p:childTnLst>
                                    <p:animMotion origin="layout" path="M -3.33333E-6 0.03889 L -3.33333E-6 -7.40741E-7 " pathEditMode="relative" rAng="0" ptsTypes="AA">
                                      <p:cBhvr>
                                        <p:cTn id="64" dur="500" fill="hold"/>
                                        <p:tgtEl>
                                          <p:spTgt spid="46"/>
                                        </p:tgtEl>
                                        <p:attrNameLst>
                                          <p:attrName>ppt_x</p:attrName>
                                          <p:attrName>ppt_y</p:attrName>
                                        </p:attrNameLst>
                                      </p:cBhvr>
                                      <p:rCtr x="0" y="-1944"/>
                                    </p:animMotion>
                                  </p:childTnLst>
                                </p:cTn>
                              </p:par>
                              <p:par>
                                <p:cTn id="65" presetID="10" presetClass="entr" presetSubtype="0" fill="hold" grpId="0"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250"/>
                                        <p:tgtEl>
                                          <p:spTgt spid="42"/>
                                        </p:tgtEl>
                                      </p:cBhvr>
                                    </p:animEffect>
                                  </p:childTnLst>
                                </p:cTn>
                              </p:par>
                              <p:par>
                                <p:cTn id="68" presetID="42" presetClass="path" presetSubtype="0" decel="100000" fill="hold" grpId="1" nodeType="withEffect">
                                  <p:stCondLst>
                                    <p:cond delay="0"/>
                                  </p:stCondLst>
                                  <p:childTnLst>
                                    <p:animMotion origin="layout" path="M 1.25E-6 0.03889 L 1.25E-6 1.85185E-6 " pathEditMode="relative" rAng="0" ptsTypes="AA">
                                      <p:cBhvr>
                                        <p:cTn id="69" dur="500" fill="hold"/>
                                        <p:tgtEl>
                                          <p:spTgt spid="42"/>
                                        </p:tgtEl>
                                        <p:attrNameLst>
                                          <p:attrName>ppt_x</p:attrName>
                                          <p:attrName>ppt_y</p:attrName>
                                        </p:attrNameLst>
                                      </p:cBhvr>
                                      <p:rCtr x="0" y="-1944"/>
                                    </p:animMotion>
                                  </p:childTnLst>
                                </p:cTn>
                              </p:par>
                              <p:par>
                                <p:cTn id="70" presetID="10" presetClass="entr" presetSubtype="0" fill="hold" nodeType="withEffect">
                                  <p:stCondLst>
                                    <p:cond delay="0"/>
                                  </p:stCondLst>
                                  <p:childTnLst>
                                    <p:set>
                                      <p:cBhvr>
                                        <p:cTn id="71" dur="1" fill="hold">
                                          <p:stCondLst>
                                            <p:cond delay="0"/>
                                          </p:stCondLst>
                                        </p:cTn>
                                        <p:tgtEl>
                                          <p:spTgt spid="49"/>
                                        </p:tgtEl>
                                        <p:attrNameLst>
                                          <p:attrName>style.visibility</p:attrName>
                                        </p:attrNameLst>
                                      </p:cBhvr>
                                      <p:to>
                                        <p:strVal val="visible"/>
                                      </p:to>
                                    </p:set>
                                    <p:animEffect transition="in" filter="fade">
                                      <p:cBhvr>
                                        <p:cTn id="72" dur="250"/>
                                        <p:tgtEl>
                                          <p:spTgt spid="49"/>
                                        </p:tgtEl>
                                      </p:cBhvr>
                                    </p:animEffect>
                                  </p:childTnLst>
                                </p:cTn>
                              </p:par>
                              <p:par>
                                <p:cTn id="73" presetID="42" presetClass="path" presetSubtype="0" decel="100000" fill="hold" nodeType="withEffect">
                                  <p:stCondLst>
                                    <p:cond delay="0"/>
                                  </p:stCondLst>
                                  <p:childTnLst>
                                    <p:animMotion origin="layout" path="M 1.45833E-6 0.03889 L 1.45833E-6 -7.40741E-7 " pathEditMode="relative" rAng="0" ptsTypes="AA">
                                      <p:cBhvr>
                                        <p:cTn id="74" dur="500" fill="hold"/>
                                        <p:tgtEl>
                                          <p:spTgt spid="49"/>
                                        </p:tgtEl>
                                        <p:attrNameLst>
                                          <p:attrName>ppt_x</p:attrName>
                                          <p:attrName>ppt_y</p:attrName>
                                        </p:attrNameLst>
                                      </p:cBhvr>
                                      <p:rCtr x="0" y="-1944"/>
                                    </p:animMotion>
                                  </p:childTnLst>
                                </p:cTn>
                              </p:par>
                              <p:par>
                                <p:cTn id="75" presetID="10" presetClass="entr" presetSubtype="0" fill="hold" grpId="0" nodeType="withEffect">
                                  <p:stCondLst>
                                    <p:cond delay="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250"/>
                                        <p:tgtEl>
                                          <p:spTgt spid="43"/>
                                        </p:tgtEl>
                                      </p:cBhvr>
                                    </p:animEffect>
                                  </p:childTnLst>
                                </p:cTn>
                              </p:par>
                              <p:par>
                                <p:cTn id="78" presetID="42" presetClass="path" presetSubtype="0" decel="100000" fill="hold" grpId="1" nodeType="withEffect">
                                  <p:stCondLst>
                                    <p:cond delay="0"/>
                                  </p:stCondLst>
                                  <p:childTnLst>
                                    <p:animMotion origin="layout" path="M 1.45833E-6 0.03889 L 1.45833E-6 -7.40741E-7 " pathEditMode="relative" rAng="0" ptsTypes="AA">
                                      <p:cBhvr>
                                        <p:cTn id="79" dur="500" fill="hold"/>
                                        <p:tgtEl>
                                          <p:spTgt spid="43"/>
                                        </p:tgtEl>
                                        <p:attrNameLst>
                                          <p:attrName>ppt_x</p:attrName>
                                          <p:attrName>ppt_y</p:attrName>
                                        </p:attrNameLst>
                                      </p:cBhvr>
                                      <p:rCtr x="0" y="-1944"/>
                                    </p:animMotion>
                                  </p:childTnLst>
                                </p:cTn>
                              </p:par>
                              <p:par>
                                <p:cTn id="80" presetID="10" presetClass="entr" presetSubtype="0" fill="hold" nodeType="with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250"/>
                                        <p:tgtEl>
                                          <p:spTgt spid="52"/>
                                        </p:tgtEl>
                                      </p:cBhvr>
                                    </p:animEffect>
                                  </p:childTnLst>
                                </p:cTn>
                              </p:par>
                              <p:par>
                                <p:cTn id="83" presetID="42" presetClass="path" presetSubtype="0" decel="100000" fill="hold" nodeType="withEffect">
                                  <p:stCondLst>
                                    <p:cond delay="0"/>
                                  </p:stCondLst>
                                  <p:childTnLst>
                                    <p:animMotion origin="layout" path="M 3.95833E-6 0.03889 L 3.95833E-6 -7.40741E-7 " pathEditMode="relative" rAng="0" ptsTypes="AA">
                                      <p:cBhvr>
                                        <p:cTn id="84" dur="500" fill="hold"/>
                                        <p:tgtEl>
                                          <p:spTgt spid="52"/>
                                        </p:tgtEl>
                                        <p:attrNameLst>
                                          <p:attrName>ppt_x</p:attrName>
                                          <p:attrName>ppt_y</p:attrName>
                                        </p:attrNameLst>
                                      </p:cBhvr>
                                      <p:rCtr x="0" y="-1944"/>
                                    </p:animMotion>
                                  </p:childTnLst>
                                </p:cTn>
                              </p:par>
                              <p:par>
                                <p:cTn id="85" presetID="10" presetClass="entr" presetSubtype="0" fill="hold" grpId="0" nodeType="withEffect">
                                  <p:stCondLst>
                                    <p:cond delay="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42" presetClass="path" presetSubtype="0" decel="100000" fill="hold" grpId="1" nodeType="withEffect">
                                  <p:stCondLst>
                                    <p:cond delay="0"/>
                                  </p:stCondLst>
                                  <p:childTnLst>
                                    <p:animMotion origin="layout" path="M 1.25E-6 0.03889 L 1.25E-6 1.85185E-6 " pathEditMode="relative" rAng="0" ptsTypes="AA">
                                      <p:cBhvr>
                                        <p:cTn id="89" dur="500" fill="hold"/>
                                        <p:tgtEl>
                                          <p:spTgt spid="44"/>
                                        </p:tgtEl>
                                        <p:attrNameLst>
                                          <p:attrName>ppt_x</p:attrName>
                                          <p:attrName>ppt_y</p:attrName>
                                        </p:attrNameLst>
                                      </p:cBhvr>
                                      <p:rCtr x="0" y="-1944"/>
                                    </p:animMotion>
                                  </p:childTnLst>
                                </p:cTn>
                              </p:par>
                              <p:par>
                                <p:cTn id="90" presetID="10" presetClass="entr" presetSubtype="0" fill="hold" grpId="0" nodeType="withEffect">
                                  <p:stCondLst>
                                    <p:cond delay="0"/>
                                  </p:stCondLst>
                                  <p:childTnLst>
                                    <p:set>
                                      <p:cBhvr>
                                        <p:cTn id="91" dur="1" fill="hold">
                                          <p:stCondLst>
                                            <p:cond delay="0"/>
                                          </p:stCondLst>
                                        </p:cTn>
                                        <p:tgtEl>
                                          <p:spTgt spid="9"/>
                                        </p:tgtEl>
                                        <p:attrNameLst>
                                          <p:attrName>style.visibility</p:attrName>
                                        </p:attrNameLst>
                                      </p:cBhvr>
                                      <p:to>
                                        <p:strVal val="visible"/>
                                      </p:to>
                                    </p:set>
                                    <p:animEffect transition="in" filter="fade">
                                      <p:cBhvr>
                                        <p:cTn id="92" dur="250"/>
                                        <p:tgtEl>
                                          <p:spTgt spid="9"/>
                                        </p:tgtEl>
                                      </p:cBhvr>
                                    </p:animEffect>
                                  </p:childTnLst>
                                </p:cTn>
                              </p:par>
                              <p:par>
                                <p:cTn id="93" presetID="42" presetClass="path" presetSubtype="0" decel="100000" fill="hold" grpId="1" nodeType="withEffect">
                                  <p:stCondLst>
                                    <p:cond delay="0"/>
                                  </p:stCondLst>
                                  <p:childTnLst>
                                    <p:animMotion origin="layout" path="M 1.25E-6 0.03889 L 1.25E-6 1.85185E-6 " pathEditMode="relative" rAng="0" ptsTypes="AA">
                                      <p:cBhvr>
                                        <p:cTn id="94" dur="500" fill="hold"/>
                                        <p:tgtEl>
                                          <p:spTgt spid="9"/>
                                        </p:tgtEl>
                                        <p:attrNameLst>
                                          <p:attrName>ppt_x</p:attrName>
                                          <p:attrName>ppt_y</p:attrName>
                                        </p:attrNameLst>
                                      </p:cBhvr>
                                      <p:rCtr x="0" y="-1944"/>
                                    </p:animMotion>
                                  </p:childTnLst>
                                </p:cTn>
                              </p:par>
                              <p:par>
                                <p:cTn id="95" presetID="10" presetClass="entr" presetSubtype="0" fill="hold" grpId="0" nodeType="withEffect">
                                  <p:stCondLst>
                                    <p:cond delay="0"/>
                                  </p:stCondLst>
                                  <p:childTnLst>
                                    <p:set>
                                      <p:cBhvr>
                                        <p:cTn id="96" dur="1" fill="hold">
                                          <p:stCondLst>
                                            <p:cond delay="0"/>
                                          </p:stCondLst>
                                        </p:cTn>
                                        <p:tgtEl>
                                          <p:spTgt spid="10"/>
                                        </p:tgtEl>
                                        <p:attrNameLst>
                                          <p:attrName>style.visibility</p:attrName>
                                        </p:attrNameLst>
                                      </p:cBhvr>
                                      <p:to>
                                        <p:strVal val="visible"/>
                                      </p:to>
                                    </p:set>
                                    <p:animEffect transition="in" filter="fade">
                                      <p:cBhvr>
                                        <p:cTn id="97" dur="250"/>
                                        <p:tgtEl>
                                          <p:spTgt spid="10"/>
                                        </p:tgtEl>
                                      </p:cBhvr>
                                    </p:animEffect>
                                  </p:childTnLst>
                                </p:cTn>
                              </p:par>
                              <p:par>
                                <p:cTn id="98" presetID="42" presetClass="path" presetSubtype="0" decel="100000" fill="hold" grpId="1" nodeType="withEffect">
                                  <p:stCondLst>
                                    <p:cond delay="0"/>
                                  </p:stCondLst>
                                  <p:childTnLst>
                                    <p:animMotion origin="layout" path="M 1.25E-6 0.03889 L 1.25E-6 1.85185E-6 " pathEditMode="relative" rAng="0" ptsTypes="AA">
                                      <p:cBhvr>
                                        <p:cTn id="99" dur="500" fill="hold"/>
                                        <p:tgtEl>
                                          <p:spTgt spid="10"/>
                                        </p:tgtEl>
                                        <p:attrNameLst>
                                          <p:attrName>ppt_x</p:attrName>
                                          <p:attrName>ppt_y</p:attrName>
                                        </p:attrNameLst>
                                      </p:cBhvr>
                                      <p:rCtr x="0" y="-1944"/>
                                    </p:animMotion>
                                  </p:childTnLst>
                                </p:cTn>
                              </p:par>
                              <p:par>
                                <p:cTn id="100" presetID="10" presetClass="entr" presetSubtype="0" fill="hold" grpId="0" nodeType="withEffect">
                                  <p:stCondLst>
                                    <p:cond delay="0"/>
                                  </p:stCondLst>
                                  <p:childTnLst>
                                    <p:set>
                                      <p:cBhvr>
                                        <p:cTn id="101" dur="1" fill="hold">
                                          <p:stCondLst>
                                            <p:cond delay="0"/>
                                          </p:stCondLst>
                                        </p:cTn>
                                        <p:tgtEl>
                                          <p:spTgt spid="15"/>
                                        </p:tgtEl>
                                        <p:attrNameLst>
                                          <p:attrName>style.visibility</p:attrName>
                                        </p:attrNameLst>
                                      </p:cBhvr>
                                      <p:to>
                                        <p:strVal val="visible"/>
                                      </p:to>
                                    </p:set>
                                    <p:animEffect transition="in" filter="fade">
                                      <p:cBhvr>
                                        <p:cTn id="102" dur="250"/>
                                        <p:tgtEl>
                                          <p:spTgt spid="15"/>
                                        </p:tgtEl>
                                      </p:cBhvr>
                                    </p:animEffect>
                                  </p:childTnLst>
                                </p:cTn>
                              </p:par>
                              <p:par>
                                <p:cTn id="103" presetID="42" presetClass="path" presetSubtype="0" decel="100000" fill="hold" grpId="1" nodeType="withEffect">
                                  <p:stCondLst>
                                    <p:cond delay="0"/>
                                  </p:stCondLst>
                                  <p:childTnLst>
                                    <p:animMotion origin="layout" path="M 1.25E-6 0.03889 L 1.25E-6 1.85185E-6 " pathEditMode="relative" rAng="0" ptsTypes="AA">
                                      <p:cBhvr>
                                        <p:cTn id="104" dur="500" fill="hold"/>
                                        <p:tgtEl>
                                          <p:spTgt spid="15"/>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7" grpId="1" animBg="1"/>
      <p:bldP spid="13" grpId="0" animBg="1"/>
      <p:bldP spid="13" grpId="1" animBg="1"/>
      <p:bldP spid="17" grpId="0" animBg="1"/>
      <p:bldP spid="17" grpId="1" animBg="1"/>
      <p:bldP spid="18" grpId="0" animBg="1"/>
      <p:bldP spid="18" grpId="1" animBg="1"/>
      <p:bldP spid="19" grpId="0"/>
      <p:bldP spid="19" grpId="1"/>
      <p:bldP spid="35" grpId="0" animBg="1"/>
      <p:bldP spid="35" grpId="1" animBg="1"/>
      <p:bldP spid="38" grpId="0" animBg="1"/>
      <p:bldP spid="38" grpId="1" animBg="1"/>
      <p:bldP spid="40" grpId="0"/>
      <p:bldP spid="40" grpId="1"/>
      <p:bldP spid="41" grpId="0"/>
      <p:bldP spid="41" grpId="1"/>
      <p:bldP spid="42" grpId="0" animBg="1"/>
      <p:bldP spid="42" grpId="1" animBg="1"/>
      <p:bldP spid="43" grpId="0" animBg="1"/>
      <p:bldP spid="43" grpId="1" animBg="1"/>
      <p:bldP spid="44" grpId="0" animBg="1"/>
      <p:bldP spid="44" grpId="1" animBg="1"/>
      <p:bldP spid="9" grpId="0" animBg="1"/>
      <p:bldP spid="9" grpId="1" animBg="1"/>
      <p:bldP spid="10" grpId="0" animBg="1"/>
      <p:bldP spid="10" grpId="1" animBg="1"/>
      <p:bldP spid="15" grpId="0" animBg="1"/>
      <p:bldP spid="15"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E97C74-2A32-4952-A40A-C136182F5E71}"/>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8121855B-182A-B457-850B-9E1A4D418D13}"/>
              </a:ext>
              <a:ext uri="{C183D7F6-B498-43B3-948B-1728B52AA6E4}">
                <adec:decorative xmlns:adec="http://schemas.microsoft.com/office/drawing/2017/decorative" val="1"/>
              </a:ext>
            </a:extLst>
          </p:cNvPr>
          <p:cNvSpPr>
            <a:spLocks/>
          </p:cNvSpPr>
          <p:nvPr/>
        </p:nvSpPr>
        <p:spPr bwMode="auto">
          <a:xfrm>
            <a:off x="74023" y="2818810"/>
            <a:ext cx="6670537" cy="3581991"/>
          </a:xfrm>
          <a:prstGeom prst="roundRect">
            <a:avLst>
              <a:gd name="adj" fmla="val 4185"/>
            </a:avLst>
          </a:prstGeom>
          <a:solidFill>
            <a:schemeClr val="bg1"/>
          </a:solidFill>
          <a:ln w="12700">
            <a:no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 name="Text 1">
            <a:extLst>
              <a:ext uri="{FF2B5EF4-FFF2-40B4-BE49-F238E27FC236}">
                <a16:creationId xmlns:a16="http://schemas.microsoft.com/office/drawing/2014/main" id="{EBA78939-7052-A480-4AB2-61696889B23A}"/>
              </a:ext>
            </a:extLst>
          </p:cNvPr>
          <p:cNvSpPr>
            <a:spLocks/>
          </p:cNvSpPr>
          <p:nvPr/>
        </p:nvSpPr>
        <p:spPr>
          <a:xfrm>
            <a:off x="983997" y="4862729"/>
            <a:ext cx="3943350" cy="369332"/>
          </a:xfrm>
          <a:prstGeom prst="rect">
            <a:avLst/>
          </a:prstGeom>
          <a:noFill/>
          <a:ln/>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400"/>
              </a:spcAft>
              <a:buClrTx/>
              <a:buSzTx/>
              <a:buFontTx/>
              <a:buNone/>
              <a:tabLst/>
              <a:defRPr/>
            </a:pPr>
            <a:r>
              <a:rPr kumimoji="0" lang="it-it" sz="2400" b="0" i="0" u="none" strike="noStrike" kern="1200" cap="none" spc="0" normalizeH="0" baseline="0" noProof="0" dirty="0">
                <a:ln>
                  <a:noFill/>
                </a:ln>
                <a:solidFill>
                  <a:srgbClr val="000000"/>
                </a:solidFill>
                <a:effectLst/>
                <a:uLnTx/>
                <a:uFillTx/>
                <a:latin typeface="Segoe UI Semibold"/>
                <a:ea typeface="+mn-ea"/>
                <a:cs typeface="Segoe UI Semibold"/>
              </a:rPr>
              <a:t>Moderatori</a:t>
            </a:r>
            <a:r>
              <a:rPr lang="it-it" i="1" dirty="0">
                <a:solidFill>
                  <a:schemeClr val="accent4"/>
                </a:solidFill>
                <a:latin typeface="Segoe UI"/>
                <a:cs typeface="Segoe UI Semibold"/>
              </a:rPr>
              <a:t> </a:t>
            </a:r>
          </a:p>
        </p:txBody>
      </p:sp>
      <p:sp>
        <p:nvSpPr>
          <p:cNvPr id="9" name="TextBox 127">
            <a:extLst>
              <a:ext uri="{FF2B5EF4-FFF2-40B4-BE49-F238E27FC236}">
                <a16:creationId xmlns:a16="http://schemas.microsoft.com/office/drawing/2014/main" id="{33D582D1-DD35-3BCA-1404-9EFBB81ADF43}"/>
              </a:ext>
            </a:extLst>
          </p:cNvPr>
          <p:cNvSpPr txBox="1">
            <a:spLocks/>
          </p:cNvSpPr>
          <p:nvPr/>
        </p:nvSpPr>
        <p:spPr>
          <a:xfrm>
            <a:off x="943916" y="3617513"/>
            <a:ext cx="3801109" cy="697627"/>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400"/>
              </a:spcAft>
              <a:buClrTx/>
              <a:buSzTx/>
              <a:buFontTx/>
              <a:buNone/>
              <a:tabLst/>
              <a:defRPr/>
            </a:pPr>
            <a:r>
              <a:rPr kumimoji="0" lang="it-it" sz="2400" b="0" i="0" u="none" strike="noStrike" kern="1200" cap="none" spc="0" normalizeH="0" baseline="0" noProof="0">
                <a:ln>
                  <a:noFill/>
                </a:ln>
                <a:solidFill>
                  <a:srgbClr val="000000"/>
                </a:solidFill>
                <a:effectLst/>
                <a:uLnTx/>
                <a:uFillTx/>
                <a:latin typeface="Segoe UI Semibold"/>
                <a:ea typeface="+mn-ea"/>
                <a:cs typeface="Segoe UI Semibold"/>
              </a:rPr>
              <a:t>Relatori</a:t>
            </a:r>
          </a:p>
          <a:p>
            <a:pPr marL="342900" lvl="0" indent="-228600" defTabSz="609539">
              <a:spcAft>
                <a:spcPts val="600"/>
              </a:spcAft>
              <a:buFont typeface="Arial" panose="020B0604020202020204" pitchFamily="34" charset="0"/>
              <a:buChar char="•"/>
              <a:defRPr/>
            </a:pPr>
            <a:endParaRPr lang="en-CA">
              <a:solidFill>
                <a:srgbClr val="000000"/>
              </a:solidFill>
              <a:latin typeface="Segoe UI"/>
              <a:cs typeface="Segoe UI Semibold"/>
            </a:endParaRPr>
          </a:p>
        </p:txBody>
      </p:sp>
      <p:grpSp>
        <p:nvGrpSpPr>
          <p:cNvPr id="10" name="Group 9">
            <a:extLst>
              <a:ext uri="{FF2B5EF4-FFF2-40B4-BE49-F238E27FC236}">
                <a16:creationId xmlns:a16="http://schemas.microsoft.com/office/drawing/2014/main" id="{C93A22D1-DF2E-AA83-80ED-2B5D409506CC}"/>
              </a:ext>
            </a:extLst>
          </p:cNvPr>
          <p:cNvGrpSpPr/>
          <p:nvPr/>
        </p:nvGrpSpPr>
        <p:grpSpPr>
          <a:xfrm>
            <a:off x="222258" y="3497442"/>
            <a:ext cx="609474" cy="566322"/>
            <a:chOff x="7949582" y="2666288"/>
            <a:chExt cx="609474" cy="609474"/>
          </a:xfrm>
        </p:grpSpPr>
        <p:sp>
          <p:nvSpPr>
            <p:cNvPr id="14" name="Freeform: Shape 13">
              <a:extLst>
                <a:ext uri="{FF2B5EF4-FFF2-40B4-BE49-F238E27FC236}">
                  <a16:creationId xmlns:a16="http://schemas.microsoft.com/office/drawing/2014/main" id="{35954151-2233-ED9A-9D1F-E2347AC7EBE2}"/>
                </a:ext>
                <a:ext uri="{C183D7F6-B498-43B3-948B-1728B52AA6E4}">
                  <adec:decorative xmlns:adec="http://schemas.microsoft.com/office/drawing/2017/decorative" val="1"/>
                </a:ext>
              </a:extLst>
            </p:cNvPr>
            <p:cNvSpPr>
              <a:spLocks/>
            </p:cNvSpPr>
            <p:nvPr/>
          </p:nvSpPr>
          <p:spPr bwMode="auto">
            <a:xfrm>
              <a:off x="7949582" y="2666288"/>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5" name="Graphic 77" descr="Icona di una persona davanti a uno schermo ">
              <a:extLst>
                <a:ext uri="{FF2B5EF4-FFF2-40B4-BE49-F238E27FC236}">
                  <a16:creationId xmlns:a16="http://schemas.microsoft.com/office/drawing/2014/main" id="{607D14B4-7EF9-2145-A708-21A6E1BB96A4}"/>
                </a:ext>
              </a:extLst>
            </p:cNvPr>
            <p:cNvSpPr>
              <a:spLocks/>
            </p:cNvSpPr>
            <p:nvPr/>
          </p:nvSpPr>
          <p:spPr>
            <a:xfrm>
              <a:off x="8084475" y="2801181"/>
              <a:ext cx="339688" cy="339688"/>
            </a:xfrm>
            <a:custGeom>
              <a:avLst/>
              <a:gdLst>
                <a:gd name="connsiteX0" fmla="*/ 92869 w 200025"/>
                <a:gd name="connsiteY0" fmla="*/ 0 h 195262"/>
                <a:gd name="connsiteX1" fmla="*/ 100013 w 200025"/>
                <a:gd name="connsiteY1" fmla="*/ 7144 h 195262"/>
                <a:gd name="connsiteX2" fmla="*/ 100013 w 200025"/>
                <a:gd name="connsiteY2" fmla="*/ 9525 h 195262"/>
                <a:gd name="connsiteX3" fmla="*/ 159544 w 200025"/>
                <a:gd name="connsiteY3" fmla="*/ 9525 h 195262"/>
                <a:gd name="connsiteX4" fmla="*/ 190500 w 200025"/>
                <a:gd name="connsiteY4" fmla="*/ 40481 h 195262"/>
                <a:gd name="connsiteX5" fmla="*/ 190500 w 200025"/>
                <a:gd name="connsiteY5" fmla="*/ 104775 h 195262"/>
                <a:gd name="connsiteX6" fmla="*/ 188043 w 200025"/>
                <a:gd name="connsiteY6" fmla="*/ 104775 h 195262"/>
                <a:gd name="connsiteX7" fmla="*/ 154786 w 200025"/>
                <a:gd name="connsiteY7" fmla="*/ 66753 h 195262"/>
                <a:gd name="connsiteX8" fmla="*/ 116764 w 200025"/>
                <a:gd name="connsiteY8" fmla="*/ 100010 h 195262"/>
                <a:gd name="connsiteX9" fmla="*/ 128121 w 200025"/>
                <a:gd name="connsiteY9" fmla="*/ 128588 h 195262"/>
                <a:gd name="connsiteX10" fmla="*/ 119063 w 200025"/>
                <a:gd name="connsiteY10" fmla="*/ 128588 h 195262"/>
                <a:gd name="connsiteX11" fmla="*/ 95250 w 200025"/>
                <a:gd name="connsiteY11" fmla="*/ 152400 h 195262"/>
                <a:gd name="connsiteX12" fmla="*/ 95250 w 200025"/>
                <a:gd name="connsiteY12" fmla="*/ 157163 h 195262"/>
                <a:gd name="connsiteX13" fmla="*/ 95536 w 200025"/>
                <a:gd name="connsiteY13" fmla="*/ 161925 h 195262"/>
                <a:gd name="connsiteX14" fmla="*/ 72390 w 200025"/>
                <a:gd name="connsiteY14" fmla="*/ 161925 h 195262"/>
                <a:gd name="connsiteX15" fmla="*/ 50721 w 200025"/>
                <a:gd name="connsiteY15" fmla="*/ 187928 h 195262"/>
                <a:gd name="connsiteX16" fmla="*/ 40657 w 200025"/>
                <a:gd name="connsiteY16" fmla="*/ 188847 h 195262"/>
                <a:gd name="connsiteX17" fmla="*/ 39738 w 200025"/>
                <a:gd name="connsiteY17" fmla="*/ 178784 h 195262"/>
                <a:gd name="connsiteX18" fmla="*/ 53797 w 200025"/>
                <a:gd name="connsiteY18" fmla="*/ 161925 h 195262"/>
                <a:gd name="connsiteX19" fmla="*/ 30956 w 200025"/>
                <a:gd name="connsiteY19" fmla="*/ 161925 h 195262"/>
                <a:gd name="connsiteX20" fmla="*/ 0 w 200025"/>
                <a:gd name="connsiteY20" fmla="*/ 130969 h 195262"/>
                <a:gd name="connsiteX21" fmla="*/ 0 w 200025"/>
                <a:gd name="connsiteY21" fmla="*/ 40481 h 195262"/>
                <a:gd name="connsiteX22" fmla="*/ 30956 w 200025"/>
                <a:gd name="connsiteY22" fmla="*/ 9525 h 195262"/>
                <a:gd name="connsiteX23" fmla="*/ 85725 w 200025"/>
                <a:gd name="connsiteY23" fmla="*/ 9525 h 195262"/>
                <a:gd name="connsiteX24" fmla="*/ 85725 w 200025"/>
                <a:gd name="connsiteY24" fmla="*/ 7144 h 195262"/>
                <a:gd name="connsiteX25" fmla="*/ 92869 w 200025"/>
                <a:gd name="connsiteY25" fmla="*/ 0 h 195262"/>
                <a:gd name="connsiteX26" fmla="*/ 38100 w 200025"/>
                <a:gd name="connsiteY26" fmla="*/ 54769 h 195262"/>
                <a:gd name="connsiteX27" fmla="*/ 45244 w 200025"/>
                <a:gd name="connsiteY27" fmla="*/ 61913 h 195262"/>
                <a:gd name="connsiteX28" fmla="*/ 83344 w 200025"/>
                <a:gd name="connsiteY28" fmla="*/ 61913 h 195262"/>
                <a:gd name="connsiteX29" fmla="*/ 90488 w 200025"/>
                <a:gd name="connsiteY29" fmla="*/ 54769 h 195262"/>
                <a:gd name="connsiteX30" fmla="*/ 83344 w 200025"/>
                <a:gd name="connsiteY30" fmla="*/ 47625 h 195262"/>
                <a:gd name="connsiteX31" fmla="*/ 45244 w 200025"/>
                <a:gd name="connsiteY31" fmla="*/ 47625 h 195262"/>
                <a:gd name="connsiteX32" fmla="*/ 38100 w 200025"/>
                <a:gd name="connsiteY32" fmla="*/ 54769 h 195262"/>
                <a:gd name="connsiteX33" fmla="*/ 45244 w 200025"/>
                <a:gd name="connsiteY33" fmla="*/ 76200 h 195262"/>
                <a:gd name="connsiteX34" fmla="*/ 38100 w 200025"/>
                <a:gd name="connsiteY34" fmla="*/ 83344 h 195262"/>
                <a:gd name="connsiteX35" fmla="*/ 45244 w 200025"/>
                <a:gd name="connsiteY35" fmla="*/ 90488 h 195262"/>
                <a:gd name="connsiteX36" fmla="*/ 107156 w 200025"/>
                <a:gd name="connsiteY36" fmla="*/ 90488 h 195262"/>
                <a:gd name="connsiteX37" fmla="*/ 114300 w 200025"/>
                <a:gd name="connsiteY37" fmla="*/ 83344 h 195262"/>
                <a:gd name="connsiteX38" fmla="*/ 107156 w 200025"/>
                <a:gd name="connsiteY38" fmla="*/ 76200 h 195262"/>
                <a:gd name="connsiteX39" fmla="*/ 45244 w 200025"/>
                <a:gd name="connsiteY39" fmla="*/ 76200 h 195262"/>
                <a:gd name="connsiteX40" fmla="*/ 38100 w 200025"/>
                <a:gd name="connsiteY40" fmla="*/ 111919 h 195262"/>
                <a:gd name="connsiteX41" fmla="*/ 45244 w 200025"/>
                <a:gd name="connsiteY41" fmla="*/ 119063 h 195262"/>
                <a:gd name="connsiteX42" fmla="*/ 97631 w 200025"/>
                <a:gd name="connsiteY42" fmla="*/ 119063 h 195262"/>
                <a:gd name="connsiteX43" fmla="*/ 104775 w 200025"/>
                <a:gd name="connsiteY43" fmla="*/ 111919 h 195262"/>
                <a:gd name="connsiteX44" fmla="*/ 97631 w 200025"/>
                <a:gd name="connsiteY44" fmla="*/ 104775 h 195262"/>
                <a:gd name="connsiteX45" fmla="*/ 45244 w 200025"/>
                <a:gd name="connsiteY45" fmla="*/ 104775 h 195262"/>
                <a:gd name="connsiteX46" fmla="*/ 38100 w 200025"/>
                <a:gd name="connsiteY46" fmla="*/ 111919 h 195262"/>
                <a:gd name="connsiteX47" fmla="*/ 171450 w 200025"/>
                <a:gd name="connsiteY47" fmla="*/ 120367 h 195262"/>
                <a:gd name="connsiteX48" fmla="*/ 134422 w 200025"/>
                <a:gd name="connsiteY48" fmla="*/ 121439 h 195262"/>
                <a:gd name="connsiteX49" fmla="*/ 133350 w 200025"/>
                <a:gd name="connsiteY49" fmla="*/ 84411 h 195262"/>
                <a:gd name="connsiteX50" fmla="*/ 170378 w 200025"/>
                <a:gd name="connsiteY50" fmla="*/ 83339 h 195262"/>
                <a:gd name="connsiteX51" fmla="*/ 171450 w 200025"/>
                <a:gd name="connsiteY51" fmla="*/ 120367 h 195262"/>
                <a:gd name="connsiteX52" fmla="*/ 189548 w 200025"/>
                <a:gd name="connsiteY52" fmla="*/ 138627 h 195262"/>
                <a:gd name="connsiteX53" fmla="*/ 185738 w 200025"/>
                <a:gd name="connsiteY53" fmla="*/ 138113 h 195262"/>
                <a:gd name="connsiteX54" fmla="*/ 119063 w 200025"/>
                <a:gd name="connsiteY54" fmla="*/ 138113 h 195262"/>
                <a:gd name="connsiteX55" fmla="*/ 104775 w 200025"/>
                <a:gd name="connsiteY55" fmla="*/ 152400 h 195262"/>
                <a:gd name="connsiteX56" fmla="*/ 104775 w 200025"/>
                <a:gd name="connsiteY56" fmla="*/ 157163 h 195262"/>
                <a:gd name="connsiteX57" fmla="*/ 105156 w 200025"/>
                <a:gd name="connsiteY57" fmla="*/ 161925 h 195262"/>
                <a:gd name="connsiteX58" fmla="*/ 152400 w 200025"/>
                <a:gd name="connsiteY58" fmla="*/ 195263 h 195262"/>
                <a:gd name="connsiteX59" fmla="*/ 200025 w 200025"/>
                <a:gd name="connsiteY59" fmla="*/ 157163 h 195262"/>
                <a:gd name="connsiteX60" fmla="*/ 200025 w 200025"/>
                <a:gd name="connsiteY60" fmla="*/ 152400 h 195262"/>
                <a:gd name="connsiteX61" fmla="*/ 189548 w 200025"/>
                <a:gd name="connsiteY61" fmla="*/ 138627 h 1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0025" h="195262">
                  <a:moveTo>
                    <a:pt x="92869" y="0"/>
                  </a:moveTo>
                  <a:cubicBezTo>
                    <a:pt x="96814" y="0"/>
                    <a:pt x="100013" y="3198"/>
                    <a:pt x="100013" y="7144"/>
                  </a:cubicBezTo>
                  <a:lnTo>
                    <a:pt x="100013" y="9525"/>
                  </a:lnTo>
                  <a:lnTo>
                    <a:pt x="159544" y="9525"/>
                  </a:lnTo>
                  <a:cubicBezTo>
                    <a:pt x="176640" y="9525"/>
                    <a:pt x="190500" y="23385"/>
                    <a:pt x="190500" y="40481"/>
                  </a:cubicBezTo>
                  <a:lnTo>
                    <a:pt x="190500" y="104775"/>
                  </a:lnTo>
                  <a:lnTo>
                    <a:pt x="188043" y="104775"/>
                  </a:lnTo>
                  <a:cubicBezTo>
                    <a:pt x="189359" y="85092"/>
                    <a:pt x="174469" y="68069"/>
                    <a:pt x="154786" y="66753"/>
                  </a:cubicBezTo>
                  <a:cubicBezTo>
                    <a:pt x="135103" y="65437"/>
                    <a:pt x="118080" y="80327"/>
                    <a:pt x="116764" y="100010"/>
                  </a:cubicBezTo>
                  <a:cubicBezTo>
                    <a:pt x="116045" y="110761"/>
                    <a:pt x="120219" y="121262"/>
                    <a:pt x="128121" y="128588"/>
                  </a:cubicBezTo>
                  <a:lnTo>
                    <a:pt x="119063" y="128588"/>
                  </a:lnTo>
                  <a:cubicBezTo>
                    <a:pt x="105911" y="128588"/>
                    <a:pt x="95250" y="139249"/>
                    <a:pt x="95250" y="152400"/>
                  </a:cubicBezTo>
                  <a:lnTo>
                    <a:pt x="95250" y="157163"/>
                  </a:lnTo>
                  <a:cubicBezTo>
                    <a:pt x="95250" y="158763"/>
                    <a:pt x="95345" y="160353"/>
                    <a:pt x="95536" y="161925"/>
                  </a:cubicBezTo>
                  <a:lnTo>
                    <a:pt x="72390" y="161925"/>
                  </a:lnTo>
                  <a:lnTo>
                    <a:pt x="50721" y="187928"/>
                  </a:lnTo>
                  <a:cubicBezTo>
                    <a:pt x="48196" y="190961"/>
                    <a:pt x="43690" y="191373"/>
                    <a:pt x="40657" y="188847"/>
                  </a:cubicBezTo>
                  <a:cubicBezTo>
                    <a:pt x="37625" y="186322"/>
                    <a:pt x="37213" y="181817"/>
                    <a:pt x="39738" y="178784"/>
                  </a:cubicBezTo>
                  <a:lnTo>
                    <a:pt x="53797" y="161925"/>
                  </a:lnTo>
                  <a:lnTo>
                    <a:pt x="30956" y="161925"/>
                  </a:lnTo>
                  <a:cubicBezTo>
                    <a:pt x="13860" y="161925"/>
                    <a:pt x="0" y="148065"/>
                    <a:pt x="0" y="130969"/>
                  </a:cubicBezTo>
                  <a:lnTo>
                    <a:pt x="0" y="40481"/>
                  </a:lnTo>
                  <a:cubicBezTo>
                    <a:pt x="0" y="23385"/>
                    <a:pt x="13860" y="9525"/>
                    <a:pt x="30956" y="9525"/>
                  </a:cubicBezTo>
                  <a:lnTo>
                    <a:pt x="85725" y="9525"/>
                  </a:lnTo>
                  <a:lnTo>
                    <a:pt x="85725" y="7144"/>
                  </a:lnTo>
                  <a:cubicBezTo>
                    <a:pt x="85725" y="3198"/>
                    <a:pt x="88924" y="0"/>
                    <a:pt x="92869" y="0"/>
                  </a:cubicBezTo>
                  <a:close/>
                  <a:moveTo>
                    <a:pt x="38100" y="54769"/>
                  </a:moveTo>
                  <a:cubicBezTo>
                    <a:pt x="38100" y="58712"/>
                    <a:pt x="41300" y="61913"/>
                    <a:pt x="45244" y="61913"/>
                  </a:cubicBezTo>
                  <a:lnTo>
                    <a:pt x="83344" y="61913"/>
                  </a:lnTo>
                  <a:cubicBezTo>
                    <a:pt x="87289" y="61913"/>
                    <a:pt x="90488" y="58714"/>
                    <a:pt x="90488" y="54769"/>
                  </a:cubicBezTo>
                  <a:cubicBezTo>
                    <a:pt x="90488" y="50823"/>
                    <a:pt x="87289" y="47625"/>
                    <a:pt x="83344" y="47625"/>
                  </a:cubicBezTo>
                  <a:lnTo>
                    <a:pt x="45244" y="47625"/>
                  </a:lnTo>
                  <a:cubicBezTo>
                    <a:pt x="41298" y="47625"/>
                    <a:pt x="38100" y="50823"/>
                    <a:pt x="38100" y="54769"/>
                  </a:cubicBezTo>
                  <a:close/>
                  <a:moveTo>
                    <a:pt x="45244" y="76200"/>
                  </a:moveTo>
                  <a:cubicBezTo>
                    <a:pt x="41298" y="76200"/>
                    <a:pt x="38100" y="79399"/>
                    <a:pt x="38100" y="83344"/>
                  </a:cubicBezTo>
                  <a:cubicBezTo>
                    <a:pt x="38100" y="87289"/>
                    <a:pt x="41298" y="90488"/>
                    <a:pt x="45244" y="90488"/>
                  </a:cubicBezTo>
                  <a:lnTo>
                    <a:pt x="107156" y="90488"/>
                  </a:lnTo>
                  <a:cubicBezTo>
                    <a:pt x="111102" y="90488"/>
                    <a:pt x="114300" y="87289"/>
                    <a:pt x="114300" y="83344"/>
                  </a:cubicBezTo>
                  <a:cubicBezTo>
                    <a:pt x="114300" y="79399"/>
                    <a:pt x="111102" y="76200"/>
                    <a:pt x="107156" y="76200"/>
                  </a:cubicBezTo>
                  <a:lnTo>
                    <a:pt x="45244" y="76200"/>
                  </a:lnTo>
                  <a:close/>
                  <a:moveTo>
                    <a:pt x="38100" y="111919"/>
                  </a:moveTo>
                  <a:cubicBezTo>
                    <a:pt x="38100" y="115862"/>
                    <a:pt x="41300" y="119063"/>
                    <a:pt x="45244" y="119063"/>
                  </a:cubicBezTo>
                  <a:lnTo>
                    <a:pt x="97631" y="119063"/>
                  </a:lnTo>
                  <a:cubicBezTo>
                    <a:pt x="101577" y="119063"/>
                    <a:pt x="104775" y="115864"/>
                    <a:pt x="104775" y="111919"/>
                  </a:cubicBezTo>
                  <a:cubicBezTo>
                    <a:pt x="104775" y="107974"/>
                    <a:pt x="101577" y="104775"/>
                    <a:pt x="97631" y="104775"/>
                  </a:cubicBezTo>
                  <a:lnTo>
                    <a:pt x="45244" y="104775"/>
                  </a:lnTo>
                  <a:cubicBezTo>
                    <a:pt x="41298" y="104775"/>
                    <a:pt x="38100" y="107974"/>
                    <a:pt x="38100" y="111919"/>
                  </a:cubicBezTo>
                  <a:close/>
                  <a:moveTo>
                    <a:pt x="171450" y="120367"/>
                  </a:moveTo>
                  <a:cubicBezTo>
                    <a:pt x="161521" y="130889"/>
                    <a:pt x="144943" y="131368"/>
                    <a:pt x="134422" y="121439"/>
                  </a:cubicBezTo>
                  <a:cubicBezTo>
                    <a:pt x="123900" y="111510"/>
                    <a:pt x="123421" y="94932"/>
                    <a:pt x="133350" y="84411"/>
                  </a:cubicBezTo>
                  <a:cubicBezTo>
                    <a:pt x="143279" y="73890"/>
                    <a:pt x="159857" y="73410"/>
                    <a:pt x="170378" y="83339"/>
                  </a:cubicBezTo>
                  <a:cubicBezTo>
                    <a:pt x="180900" y="93268"/>
                    <a:pt x="181379" y="109846"/>
                    <a:pt x="171450" y="120367"/>
                  </a:cubicBezTo>
                  <a:close/>
                  <a:moveTo>
                    <a:pt x="189548" y="138627"/>
                  </a:moveTo>
                  <a:cubicBezTo>
                    <a:pt x="188306" y="138285"/>
                    <a:pt x="187025" y="138112"/>
                    <a:pt x="185738" y="138113"/>
                  </a:cubicBezTo>
                  <a:lnTo>
                    <a:pt x="119063" y="138113"/>
                  </a:lnTo>
                  <a:cubicBezTo>
                    <a:pt x="111172" y="138113"/>
                    <a:pt x="104775" y="144510"/>
                    <a:pt x="104775" y="152400"/>
                  </a:cubicBezTo>
                  <a:lnTo>
                    <a:pt x="104775" y="157163"/>
                  </a:lnTo>
                  <a:cubicBezTo>
                    <a:pt x="104775" y="158753"/>
                    <a:pt x="104899" y="160344"/>
                    <a:pt x="105156" y="161925"/>
                  </a:cubicBezTo>
                  <a:cubicBezTo>
                    <a:pt x="107861" y="179070"/>
                    <a:pt x="125016" y="195263"/>
                    <a:pt x="152400" y="195263"/>
                  </a:cubicBezTo>
                  <a:cubicBezTo>
                    <a:pt x="182309" y="195263"/>
                    <a:pt x="200025" y="175936"/>
                    <a:pt x="200025" y="157163"/>
                  </a:cubicBezTo>
                  <a:lnTo>
                    <a:pt x="200025" y="152400"/>
                  </a:lnTo>
                  <a:cubicBezTo>
                    <a:pt x="200026" y="145975"/>
                    <a:pt x="195740" y="140340"/>
                    <a:pt x="189548" y="138627"/>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horz" wrap="square" lIns="144000" tIns="0" rIns="14400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1" name="Group 10">
            <a:extLst>
              <a:ext uri="{FF2B5EF4-FFF2-40B4-BE49-F238E27FC236}">
                <a16:creationId xmlns:a16="http://schemas.microsoft.com/office/drawing/2014/main" id="{9F61DD7A-13F3-8CCD-264D-3A07A46B2C6A}"/>
              </a:ext>
            </a:extLst>
          </p:cNvPr>
          <p:cNvGrpSpPr/>
          <p:nvPr/>
        </p:nvGrpSpPr>
        <p:grpSpPr>
          <a:xfrm>
            <a:off x="224273" y="4818469"/>
            <a:ext cx="609474" cy="566322"/>
            <a:chOff x="7949582" y="3418579"/>
            <a:chExt cx="609474" cy="609474"/>
          </a:xfrm>
        </p:grpSpPr>
        <p:sp>
          <p:nvSpPr>
            <p:cNvPr id="12" name="Freeform: Shape 11">
              <a:extLst>
                <a:ext uri="{FF2B5EF4-FFF2-40B4-BE49-F238E27FC236}">
                  <a16:creationId xmlns:a16="http://schemas.microsoft.com/office/drawing/2014/main" id="{BFE57C48-F97E-16EB-ACE4-4176EC8F7326}"/>
                </a:ext>
                <a:ext uri="{C183D7F6-B498-43B3-948B-1728B52AA6E4}">
                  <adec:decorative xmlns:adec="http://schemas.microsoft.com/office/drawing/2017/decorative" val="1"/>
                </a:ext>
              </a:extLst>
            </p:cNvPr>
            <p:cNvSpPr>
              <a:spLocks/>
            </p:cNvSpPr>
            <p:nvPr/>
          </p:nvSpPr>
          <p:spPr bwMode="auto">
            <a:xfrm>
              <a:off x="7949582" y="3418579"/>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3" name="Graphic 70" descr="Icona di una persona in piedi dietro un podio">
              <a:extLst>
                <a:ext uri="{FF2B5EF4-FFF2-40B4-BE49-F238E27FC236}">
                  <a16:creationId xmlns:a16="http://schemas.microsoft.com/office/drawing/2014/main" id="{77C79843-FD1F-5493-14E1-3E99A32E892C}"/>
                </a:ext>
              </a:extLst>
            </p:cNvPr>
            <p:cNvSpPr>
              <a:spLocks/>
            </p:cNvSpPr>
            <p:nvPr/>
          </p:nvSpPr>
          <p:spPr>
            <a:xfrm>
              <a:off x="8095199" y="3546464"/>
              <a:ext cx="318240" cy="353704"/>
            </a:xfrm>
            <a:custGeom>
              <a:avLst/>
              <a:gdLst>
                <a:gd name="connsiteX0" fmla="*/ 164274 w 171441"/>
                <a:gd name="connsiteY0" fmla="*/ 104746 h 190547"/>
                <a:gd name="connsiteX1" fmla="*/ 168750 w 171441"/>
                <a:gd name="connsiteY1" fmla="*/ 117472 h 190547"/>
                <a:gd name="connsiteX2" fmla="*/ 123802 w 171441"/>
                <a:gd name="connsiteY2" fmla="*/ 153448 h 190547"/>
                <a:gd name="connsiteX3" fmla="*/ 123802 w 171441"/>
                <a:gd name="connsiteY3" fmla="*/ 169116 h 190547"/>
                <a:gd name="connsiteX4" fmla="*/ 102371 w 171441"/>
                <a:gd name="connsiteY4" fmla="*/ 190548 h 190547"/>
                <a:gd name="connsiteX5" fmla="*/ 69081 w 171441"/>
                <a:gd name="connsiteY5" fmla="*/ 190548 h 190547"/>
                <a:gd name="connsiteX6" fmla="*/ 47649 w 171441"/>
                <a:gd name="connsiteY6" fmla="*/ 169116 h 190547"/>
                <a:gd name="connsiteX7" fmla="*/ 47649 w 171441"/>
                <a:gd name="connsiteY7" fmla="*/ 153448 h 190547"/>
                <a:gd name="connsiteX8" fmla="*/ 2691 w 171441"/>
                <a:gd name="connsiteY8" fmla="*/ 117472 h 190547"/>
                <a:gd name="connsiteX9" fmla="*/ 7159 w 171441"/>
                <a:gd name="connsiteY9" fmla="*/ 104746 h 190547"/>
                <a:gd name="connsiteX10" fmla="*/ 164274 w 171441"/>
                <a:gd name="connsiteY10" fmla="*/ 104746 h 190547"/>
                <a:gd name="connsiteX11" fmla="*/ 54793 w 171441"/>
                <a:gd name="connsiteY11" fmla="*/ 66675 h 190547"/>
                <a:gd name="connsiteX12" fmla="*/ 116658 w 171441"/>
                <a:gd name="connsiteY12" fmla="*/ 66675 h 190547"/>
                <a:gd name="connsiteX13" fmla="*/ 133270 w 171441"/>
                <a:gd name="connsiteY13" fmla="*/ 81982 h 190547"/>
                <a:gd name="connsiteX14" fmla="*/ 133327 w 171441"/>
                <a:gd name="connsiteY14" fmla="*/ 83344 h 190547"/>
                <a:gd name="connsiteX15" fmla="*/ 133327 w 171441"/>
                <a:gd name="connsiteY15" fmla="*/ 95250 h 190547"/>
                <a:gd name="connsiteX16" fmla="*/ 38124 w 171441"/>
                <a:gd name="connsiteY16" fmla="*/ 95250 h 190547"/>
                <a:gd name="connsiteX17" fmla="*/ 38124 w 171441"/>
                <a:gd name="connsiteY17" fmla="*/ 83344 h 190547"/>
                <a:gd name="connsiteX18" fmla="*/ 53422 w 171441"/>
                <a:gd name="connsiteY18" fmla="*/ 66732 h 190547"/>
                <a:gd name="connsiteX19" fmla="*/ 54793 w 171441"/>
                <a:gd name="connsiteY19" fmla="*/ 66675 h 190547"/>
                <a:gd name="connsiteX20" fmla="*/ 116658 w 171441"/>
                <a:gd name="connsiteY20" fmla="*/ 66675 h 190547"/>
                <a:gd name="connsiteX21" fmla="*/ 54793 w 171441"/>
                <a:gd name="connsiteY21" fmla="*/ 66675 h 190547"/>
                <a:gd name="connsiteX22" fmla="*/ 85749 w 171441"/>
                <a:gd name="connsiteY22" fmla="*/ 0 h 190547"/>
                <a:gd name="connsiteX23" fmla="*/ 114324 w 171441"/>
                <a:gd name="connsiteY23" fmla="*/ 28575 h 190547"/>
                <a:gd name="connsiteX24" fmla="*/ 85749 w 171441"/>
                <a:gd name="connsiteY24" fmla="*/ 57150 h 190547"/>
                <a:gd name="connsiteX25" fmla="*/ 57174 w 171441"/>
                <a:gd name="connsiteY25" fmla="*/ 28575 h 190547"/>
                <a:gd name="connsiteX26" fmla="*/ 85749 w 171441"/>
                <a:gd name="connsiteY26" fmla="*/ 0 h 19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41" h="190547">
                  <a:moveTo>
                    <a:pt x="164274" y="104746"/>
                  </a:moveTo>
                  <a:cubicBezTo>
                    <a:pt x="171036" y="104746"/>
                    <a:pt x="174018" y="113252"/>
                    <a:pt x="168750" y="117472"/>
                  </a:cubicBezTo>
                  <a:lnTo>
                    <a:pt x="123802" y="153448"/>
                  </a:lnTo>
                  <a:lnTo>
                    <a:pt x="123802" y="169116"/>
                  </a:lnTo>
                  <a:cubicBezTo>
                    <a:pt x="123802" y="180952"/>
                    <a:pt x="114206" y="190548"/>
                    <a:pt x="102371" y="190548"/>
                  </a:cubicBezTo>
                  <a:lnTo>
                    <a:pt x="69081" y="190548"/>
                  </a:lnTo>
                  <a:cubicBezTo>
                    <a:pt x="57245" y="190548"/>
                    <a:pt x="47649" y="180952"/>
                    <a:pt x="47649" y="169116"/>
                  </a:cubicBezTo>
                  <a:lnTo>
                    <a:pt x="47649" y="153448"/>
                  </a:lnTo>
                  <a:lnTo>
                    <a:pt x="2691" y="117472"/>
                  </a:lnTo>
                  <a:cubicBezTo>
                    <a:pt x="-2576" y="113252"/>
                    <a:pt x="405" y="104746"/>
                    <a:pt x="7159" y="104746"/>
                  </a:cubicBezTo>
                  <a:lnTo>
                    <a:pt x="164274" y="104746"/>
                  </a:lnTo>
                  <a:close/>
                  <a:moveTo>
                    <a:pt x="54793" y="66675"/>
                  </a:moveTo>
                  <a:lnTo>
                    <a:pt x="116658" y="66675"/>
                  </a:lnTo>
                  <a:cubicBezTo>
                    <a:pt x="125335" y="66676"/>
                    <a:pt x="132561" y="73333"/>
                    <a:pt x="133270" y="81982"/>
                  </a:cubicBezTo>
                  <a:lnTo>
                    <a:pt x="133327" y="83344"/>
                  </a:lnTo>
                  <a:lnTo>
                    <a:pt x="133327" y="95250"/>
                  </a:lnTo>
                  <a:lnTo>
                    <a:pt x="38124" y="95250"/>
                  </a:lnTo>
                  <a:lnTo>
                    <a:pt x="38124" y="83344"/>
                  </a:lnTo>
                  <a:cubicBezTo>
                    <a:pt x="38125" y="74670"/>
                    <a:pt x="44777" y="67446"/>
                    <a:pt x="53422" y="66732"/>
                  </a:cubicBezTo>
                  <a:lnTo>
                    <a:pt x="54793" y="66675"/>
                  </a:lnTo>
                  <a:lnTo>
                    <a:pt x="116658" y="66675"/>
                  </a:lnTo>
                  <a:lnTo>
                    <a:pt x="54793" y="66675"/>
                  </a:lnTo>
                  <a:close/>
                  <a:moveTo>
                    <a:pt x="85749" y="0"/>
                  </a:moveTo>
                  <a:cubicBezTo>
                    <a:pt x="101531" y="0"/>
                    <a:pt x="114324" y="12794"/>
                    <a:pt x="114324" y="28575"/>
                  </a:cubicBezTo>
                  <a:cubicBezTo>
                    <a:pt x="114324" y="44356"/>
                    <a:pt x="101531" y="57150"/>
                    <a:pt x="85749" y="57150"/>
                  </a:cubicBezTo>
                  <a:cubicBezTo>
                    <a:pt x="69967" y="57150"/>
                    <a:pt x="57174" y="44356"/>
                    <a:pt x="57174" y="28575"/>
                  </a:cubicBezTo>
                  <a:cubicBezTo>
                    <a:pt x="57174" y="12794"/>
                    <a:pt x="69967" y="0"/>
                    <a:pt x="85749"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horz" wrap="square" lIns="144000" tIns="0" rIns="14400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7" name="TextBox 16">
            <a:extLst>
              <a:ext uri="{FF2B5EF4-FFF2-40B4-BE49-F238E27FC236}">
                <a16:creationId xmlns:a16="http://schemas.microsoft.com/office/drawing/2014/main" id="{0E05385F-08B7-BC83-E94E-DC9F5598EE03}"/>
              </a:ext>
            </a:extLst>
          </p:cNvPr>
          <p:cNvSpPr txBox="1"/>
          <p:nvPr/>
        </p:nvSpPr>
        <p:spPr>
          <a:xfrm>
            <a:off x="-215041" y="3040058"/>
            <a:ext cx="6549166" cy="338554"/>
          </a:xfrm>
          <a:prstGeom prst="rect">
            <a:avLst/>
          </a:prstGeom>
          <a:noFill/>
        </p:spPr>
        <p:txBody>
          <a:bodyPr wrap="square">
            <a:spAutoFit/>
          </a:bodyPr>
          <a:lstStyle/>
          <a:p>
            <a:pPr marL="661988">
              <a:lnSpc>
                <a:spcPct val="80000"/>
              </a:lnSpc>
              <a:spcAft>
                <a:spcPts val="600"/>
              </a:spcAft>
            </a:pPr>
            <a:r>
              <a:rPr lang="it-IT" sz="2000" dirty="0">
                <a:latin typeface="Segoe Sans Display Semibold" pitchFamily="2" charset="0"/>
                <a:cs typeface="Segoe Sans Display Semibold" pitchFamily="2" charset="0"/>
              </a:rPr>
              <a:t>Strategie vincenti per l’adozione degli agenti </a:t>
            </a:r>
          </a:p>
        </p:txBody>
      </p:sp>
      <p:pic>
        <p:nvPicPr>
          <p:cNvPr id="16" name="Picture 15" descr="Uno sfondo nero con testo bianco  I contenuti generati dall'IA possono non essere corretti.">
            <a:extLst>
              <a:ext uri="{FF2B5EF4-FFF2-40B4-BE49-F238E27FC236}">
                <a16:creationId xmlns:a16="http://schemas.microsoft.com/office/drawing/2014/main" id="{70E393B7-2316-8070-A6CA-21A2877DFCB6}"/>
              </a:ext>
            </a:extLst>
          </p:cNvPr>
          <p:cNvPicPr>
            <a:picLocks noChangeAspect="1"/>
          </p:cNvPicPr>
          <p:nvPr/>
        </p:nvPicPr>
        <p:blipFill>
          <a:blip r:embed="rId3"/>
          <a:stretch>
            <a:fillRect/>
          </a:stretch>
        </p:blipFill>
        <p:spPr>
          <a:xfrm>
            <a:off x="9883451" y="759259"/>
            <a:ext cx="1721536" cy="365760"/>
          </a:xfrm>
          <a:prstGeom prst="rect">
            <a:avLst/>
          </a:prstGeom>
        </p:spPr>
      </p:pic>
      <p:sp>
        <p:nvSpPr>
          <p:cNvPr id="2" name="TextBox 1">
            <a:extLst>
              <a:ext uri="{FF2B5EF4-FFF2-40B4-BE49-F238E27FC236}">
                <a16:creationId xmlns:a16="http://schemas.microsoft.com/office/drawing/2014/main" id="{DB533FBE-3238-695D-8CEB-B35F6AEAE474}"/>
              </a:ext>
            </a:extLst>
          </p:cNvPr>
          <p:cNvSpPr txBox="1"/>
          <p:nvPr/>
        </p:nvSpPr>
        <p:spPr>
          <a:xfrm>
            <a:off x="833747" y="5389819"/>
            <a:ext cx="5357328" cy="543226"/>
          </a:xfrm>
          <a:prstGeom prst="rect">
            <a:avLst/>
          </a:prstGeom>
          <a:noFill/>
        </p:spPr>
        <p:txBody>
          <a:bodyPr wrap="square" lIns="0" tIns="0" rIns="0" bIns="0" rtlCol="0">
            <a:spAutoFit/>
          </a:bodyPr>
          <a:lstStyle/>
          <a:p>
            <a:pPr marL="285750" indent="-285750">
              <a:buFont typeface="Arial" panose="020B0604020202020204" pitchFamily="34" charset="0"/>
              <a:buChar char="•"/>
            </a:pPr>
            <a:r>
              <a:rPr lang="it-it" b="1" dirty="0"/>
              <a:t>Lorenzo Albani </a:t>
            </a:r>
            <a:r>
              <a:rPr lang="it-IT" dirty="0"/>
              <a:t>–</a:t>
            </a:r>
            <a:r>
              <a:rPr lang="it-it" dirty="0"/>
              <a:t> </a:t>
            </a:r>
            <a:r>
              <a:rPr lang="it-it" i="1" dirty="0"/>
              <a:t>Cloud Solution Architect</a:t>
            </a:r>
          </a:p>
          <a:p>
            <a:pPr marL="285750" indent="-285750">
              <a:buFont typeface="Arial" panose="020B0604020202020204" pitchFamily="34" charset="0"/>
              <a:buChar char="•"/>
            </a:pPr>
            <a:endParaRPr lang="it-it" b="1" dirty="0"/>
          </a:p>
        </p:txBody>
      </p:sp>
      <p:sp>
        <p:nvSpPr>
          <p:cNvPr id="3" name="TextBox 2">
            <a:extLst>
              <a:ext uri="{FF2B5EF4-FFF2-40B4-BE49-F238E27FC236}">
                <a16:creationId xmlns:a16="http://schemas.microsoft.com/office/drawing/2014/main" id="{6DECDDB1-F682-CABD-4D89-C783B6FD16DC}"/>
              </a:ext>
            </a:extLst>
          </p:cNvPr>
          <p:cNvSpPr txBox="1"/>
          <p:nvPr/>
        </p:nvSpPr>
        <p:spPr>
          <a:xfrm>
            <a:off x="825889" y="4146622"/>
            <a:ext cx="5918671" cy="271613"/>
          </a:xfrm>
          <a:prstGeom prst="rect">
            <a:avLst/>
          </a:prstGeom>
          <a:noFill/>
        </p:spPr>
        <p:txBody>
          <a:bodyPr wrap="square" lIns="0" tIns="0" rIns="0" bIns="0" rtlCol="0">
            <a:spAutoFit/>
          </a:bodyPr>
          <a:lstStyle/>
          <a:p>
            <a:pPr marL="285750" indent="-285750">
              <a:buFont typeface="Arial" panose="020B0604020202020204" pitchFamily="34" charset="0"/>
              <a:buChar char="•"/>
            </a:pPr>
            <a:r>
              <a:rPr lang="it-it" b="1" dirty="0"/>
              <a:t>Claudio Valentini </a:t>
            </a:r>
            <a:r>
              <a:rPr lang="it-IT" dirty="0"/>
              <a:t>–</a:t>
            </a:r>
            <a:r>
              <a:rPr lang="it-it" dirty="0"/>
              <a:t> </a:t>
            </a:r>
            <a:r>
              <a:rPr lang="it-it" i="1" dirty="0"/>
              <a:t>Cloud Solution Architect</a:t>
            </a:r>
          </a:p>
        </p:txBody>
      </p:sp>
    </p:spTree>
    <p:extLst>
      <p:ext uri="{BB962C8B-B14F-4D97-AF65-F5344CB8AC3E}">
        <p14:creationId xmlns:p14="http://schemas.microsoft.com/office/powerpoint/2010/main" val="2226982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F253785-7DCD-212A-A12B-62EF604F673E}"/>
              </a:ext>
            </a:extLst>
          </p:cNvPr>
          <p:cNvSpPr txBox="1"/>
          <p:nvPr/>
        </p:nvSpPr>
        <p:spPr>
          <a:xfrm>
            <a:off x="583951" y="1624415"/>
            <a:ext cx="5281633" cy="2529923"/>
          </a:xfrm>
          <a:prstGeom prst="rect">
            <a:avLst/>
          </a:prstGeom>
          <a:noFill/>
          <a:ln>
            <a:noFill/>
            <a:prstDash/>
          </a:ln>
          <a:effectLst/>
        </p:spPr>
        <p:txBody>
          <a:bodyPr wrap="square" lIns="0" rIns="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it-it" sz="88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Domande</a:t>
            </a:r>
            <a:r>
              <a:rPr kumimoji="0" lang="it-it" sz="54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 e </a:t>
            </a:r>
            <a:r>
              <a:rPr kumimoji="0" lang="it-it" sz="88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risposte</a:t>
            </a:r>
          </a:p>
        </p:txBody>
      </p:sp>
      <p:sp>
        <p:nvSpPr>
          <p:cNvPr id="4" name="Text Placeholder 4">
            <a:extLst>
              <a:ext uri="{FF2B5EF4-FFF2-40B4-BE49-F238E27FC236}">
                <a16:creationId xmlns:a16="http://schemas.microsoft.com/office/drawing/2014/main" id="{4C5BCC02-F254-165A-B419-7E09F13385A9}"/>
              </a:ext>
            </a:extLst>
          </p:cNvPr>
          <p:cNvSpPr txBox="1">
            <a:spLocks/>
          </p:cNvSpPr>
          <p:nvPr/>
        </p:nvSpPr>
        <p:spPr>
          <a:xfrm>
            <a:off x="1876335" y="4201963"/>
            <a:ext cx="4003766" cy="738664"/>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0" i="0" kern="1200" spc="0" baseline="0">
                <a:solidFill>
                  <a:schemeClr val="tx1"/>
                </a:solidFill>
                <a:latin typeface="Segoe UI" panose="020B0502040204020203" pitchFamily="34" charset="0"/>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UI" panose="020B0502040204020203" pitchFamily="34" charset="0"/>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UI" panose="020B0502040204020203" pitchFamily="34" charset="0"/>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it-it" sz="24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Per favore, alza la mano e attiva il microfono quando sarai chiamato</a:t>
            </a:r>
          </a:p>
        </p:txBody>
      </p:sp>
      <p:sp>
        <p:nvSpPr>
          <p:cNvPr id="5" name="Rectangle: Rounded Corners 4">
            <a:extLst>
              <a:ext uri="{FF2B5EF4-FFF2-40B4-BE49-F238E27FC236}">
                <a16:creationId xmlns:a16="http://schemas.microsoft.com/office/drawing/2014/main" id="{790C1B4C-D324-4FDC-5CED-9EDCC9C2BD37}"/>
              </a:ext>
            </a:extLst>
          </p:cNvPr>
          <p:cNvSpPr/>
          <p:nvPr/>
        </p:nvSpPr>
        <p:spPr bwMode="auto">
          <a:xfrm rot="5400000">
            <a:off x="7699054" y="439533"/>
            <a:ext cx="3452506" cy="6565900"/>
          </a:xfrm>
          <a:prstGeom prst="roundRect">
            <a:avLst>
              <a:gd name="adj" fmla="val 14295"/>
            </a:avLst>
          </a:prstGeom>
          <a:solidFill>
            <a:schemeClr val="bg1">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6" name="Picture 5">
            <a:extLst>
              <a:ext uri="{FF2B5EF4-FFF2-40B4-BE49-F238E27FC236}">
                <a16:creationId xmlns:a16="http://schemas.microsoft.com/office/drawing/2014/main" id="{E8755E77-6AF4-FE9D-57AB-73980E358AB4}"/>
              </a:ext>
            </a:extLst>
          </p:cNvPr>
          <p:cNvPicPr>
            <a:picLocks noChangeAspect="1"/>
          </p:cNvPicPr>
          <p:nvPr/>
        </p:nvPicPr>
        <p:blipFill>
          <a:blip r:embed="rId3"/>
          <a:stretch>
            <a:fillRect/>
          </a:stretch>
        </p:blipFill>
        <p:spPr>
          <a:xfrm>
            <a:off x="6762842" y="3067289"/>
            <a:ext cx="5048158" cy="1286114"/>
          </a:xfrm>
          <a:prstGeom prst="roundRect">
            <a:avLst>
              <a:gd name="adj" fmla="val 12717"/>
            </a:avLst>
          </a:prstGeom>
          <a:effectLst/>
        </p:spPr>
      </p:pic>
      <p:sp>
        <p:nvSpPr>
          <p:cNvPr id="7" name="Freeform: Shape 6">
            <a:extLst>
              <a:ext uri="{FF2B5EF4-FFF2-40B4-BE49-F238E27FC236}">
                <a16:creationId xmlns:a16="http://schemas.microsoft.com/office/drawing/2014/main" id="{6760E164-D3B4-D288-E0C7-CBED5F9FEAD4}"/>
              </a:ext>
            </a:extLst>
          </p:cNvPr>
          <p:cNvSpPr/>
          <p:nvPr/>
        </p:nvSpPr>
        <p:spPr bwMode="auto">
          <a:xfrm>
            <a:off x="9020969" y="2542893"/>
            <a:ext cx="364331" cy="876300"/>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8" name="Oval 7">
            <a:extLst>
              <a:ext uri="{FF2B5EF4-FFF2-40B4-BE49-F238E27FC236}">
                <a16:creationId xmlns:a16="http://schemas.microsoft.com/office/drawing/2014/main" id="{535A04CC-0F12-6126-ABD6-D3414DC1D1EF}"/>
              </a:ext>
              <a:ext uri="{C183D7F6-B498-43B3-948B-1728B52AA6E4}">
                <adec:decorative xmlns:adec="http://schemas.microsoft.com/office/drawing/2017/decorative" val="1"/>
              </a:ext>
            </a:extLst>
          </p:cNvPr>
          <p:cNvSpPr/>
          <p:nvPr/>
        </p:nvSpPr>
        <p:spPr bwMode="auto">
          <a:xfrm>
            <a:off x="9385557" y="2327210"/>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a:ln>
                  <a:noFill/>
                </a:ln>
                <a:solidFill>
                  <a:srgbClr val="000000"/>
                </a:solidFill>
                <a:effectLst/>
                <a:uLnTx/>
                <a:uFillTx/>
                <a:latin typeface="Segoe Sans Display Semibold"/>
                <a:ea typeface="+mn-ea"/>
                <a:cs typeface="+mn-cs"/>
              </a:rPr>
              <a:t>1</a:t>
            </a:r>
          </a:p>
        </p:txBody>
      </p:sp>
      <p:sp>
        <p:nvSpPr>
          <p:cNvPr id="9" name="Freeform: Shape 8">
            <a:extLst>
              <a:ext uri="{FF2B5EF4-FFF2-40B4-BE49-F238E27FC236}">
                <a16:creationId xmlns:a16="http://schemas.microsoft.com/office/drawing/2014/main" id="{7D15C4CB-F9D7-B775-BD2B-36FA94563851}"/>
              </a:ext>
            </a:extLst>
          </p:cNvPr>
          <p:cNvSpPr/>
          <p:nvPr/>
        </p:nvSpPr>
        <p:spPr bwMode="auto">
          <a:xfrm rot="10800000">
            <a:off x="8398926" y="4166791"/>
            <a:ext cx="364331" cy="757352"/>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10" name="Oval 9">
            <a:extLst>
              <a:ext uri="{FF2B5EF4-FFF2-40B4-BE49-F238E27FC236}">
                <a16:creationId xmlns:a16="http://schemas.microsoft.com/office/drawing/2014/main" id="{2746385E-65F4-A2A7-2271-8D47D24FFE0A}"/>
              </a:ext>
              <a:ext uri="{C183D7F6-B498-43B3-948B-1728B52AA6E4}">
                <adec:decorative xmlns:adec="http://schemas.microsoft.com/office/drawing/2017/decorative" val="1"/>
              </a:ext>
            </a:extLst>
          </p:cNvPr>
          <p:cNvSpPr/>
          <p:nvPr/>
        </p:nvSpPr>
        <p:spPr bwMode="auto">
          <a:xfrm>
            <a:off x="7970750" y="4711269"/>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a:ln>
                  <a:noFill/>
                </a:ln>
                <a:solidFill>
                  <a:srgbClr val="000000"/>
                </a:solidFill>
                <a:effectLst/>
                <a:uLnTx/>
                <a:uFillTx/>
                <a:latin typeface="Segoe Sans Display Semibold"/>
                <a:ea typeface="+mn-ea"/>
                <a:cs typeface="+mn-cs"/>
              </a:rPr>
              <a:t>2</a:t>
            </a:r>
          </a:p>
        </p:txBody>
      </p:sp>
    </p:spTree>
    <p:extLst>
      <p:ext uri="{BB962C8B-B14F-4D97-AF65-F5344CB8AC3E}">
        <p14:creationId xmlns:p14="http://schemas.microsoft.com/office/powerpoint/2010/main" val="88401728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EB574C26-438B-9E3E-82EC-D8F28756706E}"/>
              </a:ext>
            </a:extLst>
          </p:cNvPr>
          <p:cNvSpPr/>
          <p:nvPr/>
        </p:nvSpPr>
        <p:spPr bwMode="auto">
          <a:xfrm rot="16200000" flipH="1">
            <a:off x="7444947" y="2092709"/>
            <a:ext cx="4778309" cy="3072762"/>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4" name="Picture 2" descr="Codice QR">
            <a:extLst>
              <a:ext uri="{FF2B5EF4-FFF2-40B4-BE49-F238E27FC236}">
                <a16:creationId xmlns:a16="http://schemas.microsoft.com/office/drawing/2014/main" id="{E0CEA7AE-2C4E-9AEE-E196-A14037070F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2636" y="1616582"/>
            <a:ext cx="2202932" cy="2202930"/>
          </a:xfrm>
          <a:prstGeom prst="roundRect">
            <a:avLst>
              <a:gd name="adj" fmla="val 2933"/>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FE95CE7F-4B9E-E2B6-19AF-B22BAEFF52D9}"/>
              </a:ext>
            </a:extLst>
          </p:cNvPr>
          <p:cNvGrpSpPr/>
          <p:nvPr/>
        </p:nvGrpSpPr>
        <p:grpSpPr>
          <a:xfrm>
            <a:off x="4491348" y="4140925"/>
            <a:ext cx="7503737" cy="844463"/>
            <a:chOff x="5607459" y="5376024"/>
            <a:chExt cx="5795892" cy="844463"/>
          </a:xfrm>
        </p:grpSpPr>
        <p:sp>
          <p:nvSpPr>
            <p:cNvPr id="6" name="Rectangle: Rounded Corners 11">
              <a:extLst>
                <a:ext uri="{FF2B5EF4-FFF2-40B4-BE49-F238E27FC236}">
                  <a16:creationId xmlns:a16="http://schemas.microsoft.com/office/drawing/2014/main" id="{B31A9F0F-D339-2CF1-AE14-AAA60BFD4372}"/>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11">
              <a:extLst>
                <a:ext uri="{FF2B5EF4-FFF2-40B4-BE49-F238E27FC236}">
                  <a16:creationId xmlns:a16="http://schemas.microsoft.com/office/drawing/2014/main" id="{C2895031-2100-907D-B0E1-B5CD30A4FB47}"/>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extBox 8">
            <a:extLst>
              <a:ext uri="{FF2B5EF4-FFF2-40B4-BE49-F238E27FC236}">
                <a16:creationId xmlns:a16="http://schemas.microsoft.com/office/drawing/2014/main" id="{B423CCA0-76FD-A476-81B5-C277DC3A8A6B}"/>
              </a:ext>
            </a:extLst>
          </p:cNvPr>
          <p:cNvSpPr txBox="1"/>
          <p:nvPr/>
        </p:nvSpPr>
        <p:spPr>
          <a:xfrm>
            <a:off x="5691556" y="4455434"/>
            <a:ext cx="2290692" cy="215444"/>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noProof="0" dirty="0">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ka.ms/</a:t>
            </a:r>
            <a:r>
              <a:rPr kumimoji="0" lang="it-it" sz="1400" b="0" i="0" u="none" strike="noStrike" kern="1200" cap="none" spc="0" normalizeH="0" noProof="0" dirty="0" err="1">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CustomerHubSurvey</a:t>
            </a:r>
            <a:r>
              <a:rPr kumimoji="0" lang="it-it" sz="1400" b="0" i="0" u="none" strike="noStrike" kern="1200" cap="none" spc="0" normalizeH="0" noProof="0" dirty="0">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 </a:t>
            </a:r>
            <a:endParaRPr kumimoji="0" lang="en-US" sz="1400" b="0" i="0" u="none" strike="noStrike" kern="1200" cap="none" spc="0" normalizeH="0" noProof="0" dirty="0">
              <a:ln>
                <a:noFill/>
              </a:ln>
              <a:solidFill>
                <a:schemeClr val="tx2"/>
              </a:solidFill>
              <a:effectLst/>
              <a:uLnTx/>
              <a:uFillTx/>
              <a:latin typeface="Segoe Sans Text"/>
              <a:ea typeface="+mn-ea"/>
              <a:cs typeface="+mn-cs"/>
            </a:endParaRPr>
          </a:p>
        </p:txBody>
      </p:sp>
      <p:cxnSp>
        <p:nvCxnSpPr>
          <p:cNvPr id="10" name="Straight Connector 9">
            <a:extLst>
              <a:ext uri="{FF2B5EF4-FFF2-40B4-BE49-F238E27FC236}">
                <a16:creationId xmlns:a16="http://schemas.microsoft.com/office/drawing/2014/main" id="{75AE50B5-E83E-D89F-14B2-82C4F27EC20A}"/>
              </a:ext>
              <a:ext uri="{C183D7F6-B498-43B3-948B-1728B52AA6E4}">
                <adec:decorative xmlns:adec="http://schemas.microsoft.com/office/drawing/2017/decorative" val="1"/>
              </a:ext>
            </a:extLst>
          </p:cNvPr>
          <p:cNvCxnSpPr>
            <a:cxnSpLocks/>
          </p:cNvCxnSpPr>
          <p:nvPr/>
        </p:nvCxnSpPr>
        <p:spPr>
          <a:xfrm>
            <a:off x="8297721" y="4393752"/>
            <a:ext cx="0" cy="338809"/>
          </a:xfrm>
          <a:prstGeom prst="line">
            <a:avLst/>
          </a:prstGeom>
          <a:ln w="12700">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2A3C751-AA86-5CCC-1606-E07694130D4A}"/>
              </a:ext>
              <a:ext uri="{C183D7F6-B498-43B3-948B-1728B52AA6E4}">
                <adec:decorative xmlns:adec="http://schemas.microsoft.com/office/drawing/2017/decorative" val="1"/>
              </a:ext>
            </a:extLst>
          </p:cNvPr>
          <p:cNvSpPr txBox="1"/>
          <p:nvPr/>
        </p:nvSpPr>
        <p:spPr>
          <a:xfrm>
            <a:off x="6170438" y="1838848"/>
            <a:ext cx="1764009" cy="430887"/>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noProof="0">
                <a:ln>
                  <a:noFill/>
                </a:ln>
                <a:solidFill>
                  <a:schemeClr val="bg1"/>
                </a:solidFill>
                <a:effectLst/>
                <a:uLnTx/>
                <a:uFillTx/>
                <a:latin typeface="+mj-lt"/>
                <a:ea typeface="+mn-ea"/>
                <a:cs typeface="+mn-cs"/>
              </a:rPr>
              <a:t>Scansiona con la fotocamera del tuo dispositivo mobile</a:t>
            </a:r>
          </a:p>
        </p:txBody>
      </p:sp>
      <p:sp>
        <p:nvSpPr>
          <p:cNvPr id="13" name="TextBox 12">
            <a:extLst>
              <a:ext uri="{FF2B5EF4-FFF2-40B4-BE49-F238E27FC236}">
                <a16:creationId xmlns:a16="http://schemas.microsoft.com/office/drawing/2014/main" id="{B9DB2F65-825D-538A-E6EA-44804CBDBD3D}"/>
              </a:ext>
            </a:extLst>
          </p:cNvPr>
          <p:cNvSpPr txBox="1"/>
          <p:nvPr/>
        </p:nvSpPr>
        <p:spPr>
          <a:xfrm>
            <a:off x="7160196" y="2610326"/>
            <a:ext cx="774251" cy="430887"/>
          </a:xfrm>
          <a:prstGeom prst="rect">
            <a:avLst/>
          </a:prstGeom>
          <a:noFill/>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noProof="0">
                <a:ln>
                  <a:noFill/>
                </a:ln>
                <a:solidFill>
                  <a:schemeClr val="bg1"/>
                </a:solidFill>
                <a:effectLst/>
                <a:uLnTx/>
                <a:uFillTx/>
                <a:latin typeface="+mj-lt"/>
                <a:ea typeface="+mn-ea"/>
                <a:cs typeface="+mn-cs"/>
              </a:rPr>
              <a:t>-OPPURE-</a:t>
            </a:r>
          </a:p>
        </p:txBody>
      </p:sp>
      <p:sp>
        <p:nvSpPr>
          <p:cNvPr id="14" name="TextBox 13">
            <a:extLst>
              <a:ext uri="{FF2B5EF4-FFF2-40B4-BE49-F238E27FC236}">
                <a16:creationId xmlns:a16="http://schemas.microsoft.com/office/drawing/2014/main" id="{6C92478C-9060-36A9-FFAF-A9F33635E5BF}"/>
              </a:ext>
            </a:extLst>
          </p:cNvPr>
          <p:cNvSpPr txBox="1"/>
          <p:nvPr/>
        </p:nvSpPr>
        <p:spPr>
          <a:xfrm>
            <a:off x="7387022" y="3381803"/>
            <a:ext cx="338233" cy="215444"/>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noProof="0" dirty="0">
                <a:ln>
                  <a:noFill/>
                </a:ln>
                <a:solidFill>
                  <a:schemeClr val="bg1"/>
                </a:solidFill>
                <a:effectLst/>
                <a:uLnTx/>
                <a:uFillTx/>
                <a:latin typeface="+mj-lt"/>
                <a:ea typeface="+mn-ea"/>
                <a:cs typeface="+mn-cs"/>
              </a:rPr>
              <a:t>Visita</a:t>
            </a:r>
          </a:p>
        </p:txBody>
      </p:sp>
      <p:pic>
        <p:nvPicPr>
          <p:cNvPr id="15" name="Picture 14" descr="Immagine sfocata di un cielo blu e arancione  I contenuti generati dall'IA possono non essere corretti.">
            <a:extLst>
              <a:ext uri="{FF2B5EF4-FFF2-40B4-BE49-F238E27FC236}">
                <a16:creationId xmlns:a16="http://schemas.microsoft.com/office/drawing/2014/main" id="{0063B506-7055-28E0-DEF9-F8AAC471EEF3}"/>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44582" t="1189" r="13264" b="356"/>
          <a:stretch>
            <a:fillRect/>
          </a:stretch>
        </p:blipFill>
        <p:spPr>
          <a:xfrm rot="10800000" flipV="1">
            <a:off x="0" y="0"/>
            <a:ext cx="5143502" cy="6675118"/>
          </a:xfrm>
          <a:prstGeom prst="rect">
            <a:avLst/>
          </a:prstGeom>
          <a:effectLst/>
        </p:spPr>
      </p:pic>
      <p:sp>
        <p:nvSpPr>
          <p:cNvPr id="18" name="Title 19">
            <a:extLst>
              <a:ext uri="{FF2B5EF4-FFF2-40B4-BE49-F238E27FC236}">
                <a16:creationId xmlns:a16="http://schemas.microsoft.com/office/drawing/2014/main" id="{23B379DE-A416-BAF3-D079-7F2CA492E061}"/>
              </a:ext>
            </a:extLst>
          </p:cNvPr>
          <p:cNvSpPr txBox="1">
            <a:spLocks/>
          </p:cNvSpPr>
          <p:nvPr/>
        </p:nvSpPr>
        <p:spPr>
          <a:xfrm>
            <a:off x="588263" y="457200"/>
            <a:ext cx="4393312" cy="1588127"/>
          </a:xfrm>
          <a:prstGeom prst="rect">
            <a:avLst/>
          </a:prstGeom>
        </p:spPr>
        <p:txBody>
          <a:bodyPr vert="horz" wrap="square" lIns="0" tIns="45720" rIns="0" bIns="45720" rtlCol="0" anchor="t">
            <a:spAutoFit/>
          </a:bodyPr>
          <a:lst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pPr defTabSz="914400">
              <a:lnSpc>
                <a:spcPct val="90000"/>
              </a:lnSpc>
            </a:pPr>
            <a:r>
              <a:rPr lang="it-it" spc="0" dirty="0"/>
              <a:t>GRAZIE -</a:t>
            </a:r>
            <a:br>
              <a:rPr dirty="0"/>
            </a:br>
            <a:r>
              <a:rPr lang="it-it" spc="0" dirty="0"/>
              <a:t>Il tuo feedback </a:t>
            </a:r>
            <a:br>
              <a:rPr lang="it-it" spc="0" dirty="0"/>
            </a:br>
            <a:r>
              <a:rPr lang="it-it" spc="0" dirty="0"/>
              <a:t>è fondamentale</a:t>
            </a:r>
          </a:p>
        </p:txBody>
      </p:sp>
      <p:sp>
        <p:nvSpPr>
          <p:cNvPr id="19" name="TextBox 18">
            <a:extLst>
              <a:ext uri="{FF2B5EF4-FFF2-40B4-BE49-F238E27FC236}">
                <a16:creationId xmlns:a16="http://schemas.microsoft.com/office/drawing/2014/main" id="{5B58808B-612F-B5E0-ED1C-2E295298D00F}"/>
              </a:ext>
            </a:extLst>
          </p:cNvPr>
          <p:cNvSpPr txBox="1"/>
          <p:nvPr/>
        </p:nvSpPr>
        <p:spPr>
          <a:xfrm>
            <a:off x="588263" y="3183661"/>
            <a:ext cx="4259962" cy="195489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1200"/>
              </a:spcAft>
              <a:buClrTx/>
              <a:buSzTx/>
              <a:buFontTx/>
              <a:buNone/>
              <a:tabLst/>
              <a:defRPr/>
            </a:pPr>
            <a:r>
              <a:rPr lang="it-it" sz="1800" dirty="0">
                <a:solidFill>
                  <a:schemeClr val="bg1"/>
                </a:solidFill>
                <a:cs typeface="Segoe UI Light"/>
              </a:rPr>
              <a:t>Siamo impegnati a offrirti la migliore esperienza possibile con il </a:t>
            </a:r>
            <a:r>
              <a:rPr lang="it-it" sz="1800" b="1" dirty="0">
                <a:solidFill>
                  <a:schemeClr val="bg1"/>
                </a:solidFill>
                <a:cs typeface="Segoe UI Light"/>
              </a:rPr>
              <a:t>Customer Hub </a:t>
            </a:r>
            <a:r>
              <a:rPr lang="it-it" sz="1800" dirty="0">
                <a:solidFill>
                  <a:schemeClr val="bg1"/>
                </a:solidFill>
                <a:cs typeface="Segoe UI Light"/>
              </a:rPr>
              <a:t>e il tuo feedback è un elemento fondamentale per questo.</a:t>
            </a:r>
          </a:p>
          <a:p>
            <a:pPr marL="0" marR="0" lvl="0" indent="0" algn="l" defTabSz="914400" rtl="0" eaLnBrk="1" fontAlgn="auto" latinLnBrk="0" hangingPunct="1">
              <a:lnSpc>
                <a:spcPct val="110000"/>
              </a:lnSpc>
              <a:spcBef>
                <a:spcPts val="0"/>
              </a:spcBef>
              <a:spcAft>
                <a:spcPts val="1200"/>
              </a:spcAft>
              <a:buClrTx/>
              <a:buSzTx/>
              <a:buFontTx/>
              <a:buNone/>
              <a:tabLst/>
              <a:defRPr/>
            </a:pPr>
            <a:r>
              <a:rPr lang="it-it" sz="1800" dirty="0">
                <a:solidFill>
                  <a:schemeClr val="bg1"/>
                </a:solidFill>
                <a:cs typeface="Segoe UI Light" panose="020B0502040204020203" pitchFamily="34" charset="0"/>
              </a:rPr>
              <a:t>Prima di andare, ti invitiamo a dedicarci </a:t>
            </a:r>
            <a:br>
              <a:rPr lang="it-it" sz="1800" dirty="0">
                <a:solidFill>
                  <a:schemeClr val="bg1"/>
                </a:solidFill>
                <a:cs typeface="Segoe UI Light" panose="020B0502040204020203" pitchFamily="34" charset="0"/>
              </a:rPr>
            </a:br>
            <a:r>
              <a:rPr lang="it-it" sz="1800" dirty="0">
                <a:solidFill>
                  <a:schemeClr val="bg1"/>
                </a:solidFill>
                <a:cs typeface="Segoe UI Light" panose="020B0502040204020203" pitchFamily="34" charset="0"/>
              </a:rPr>
              <a:t>un momento per lasciarci il tuo feedback.</a:t>
            </a:r>
          </a:p>
        </p:txBody>
      </p:sp>
      <p:sp>
        <p:nvSpPr>
          <p:cNvPr id="20" name="Graphic 3">
            <a:extLst>
              <a:ext uri="{FF2B5EF4-FFF2-40B4-BE49-F238E27FC236}">
                <a16:creationId xmlns:a16="http://schemas.microsoft.com/office/drawing/2014/main" id="{A64DB5FA-1813-0E1E-B6B4-7AD949EB203C}"/>
              </a:ext>
              <a:ext uri="{C183D7F6-B498-43B3-948B-1728B52AA6E4}">
                <adec:decorative xmlns:adec="http://schemas.microsoft.com/office/drawing/2017/decorative" val="1"/>
              </a:ext>
            </a:extLst>
          </p:cNvPr>
          <p:cNvSpPr/>
          <p:nvPr/>
        </p:nvSpPr>
        <p:spPr>
          <a:xfrm>
            <a:off x="588262" y="2556747"/>
            <a:ext cx="447435" cy="404469"/>
          </a:xfrm>
          <a:custGeom>
            <a:avLst/>
            <a:gdLst>
              <a:gd name="connsiteX0" fmla="*/ 97511 w 190073"/>
              <a:gd name="connsiteY0" fmla="*/ 0 h 171822"/>
              <a:gd name="connsiteX1" fmla="*/ 91986 w 190073"/>
              <a:gd name="connsiteY1" fmla="*/ 2629 h 171822"/>
              <a:gd name="connsiteX2" fmla="*/ 91434 w 190073"/>
              <a:gd name="connsiteY2" fmla="*/ 3039 h 171822"/>
              <a:gd name="connsiteX3" fmla="*/ 31750 w 190073"/>
              <a:gd name="connsiteY3" fmla="*/ 17831 h 171822"/>
              <a:gd name="connsiteX4" fmla="*/ 15215 w 190073"/>
              <a:gd name="connsiteY4" fmla="*/ 70314 h 171822"/>
              <a:gd name="connsiteX5" fmla="*/ 15072 w 190073"/>
              <a:gd name="connsiteY5" fmla="*/ 70457 h 171822"/>
              <a:gd name="connsiteX6" fmla="*/ 5947 w 190073"/>
              <a:gd name="connsiteY6" fmla="*/ 79515 h 171822"/>
              <a:gd name="connsiteX7" fmla="*/ 5815 w 190073"/>
              <a:gd name="connsiteY7" fmla="*/ 107910 h 171822"/>
              <a:gd name="connsiteX8" fmla="*/ 5947 w 190073"/>
              <a:gd name="connsiteY8" fmla="*/ 108043 h 171822"/>
              <a:gd name="connsiteX9" fmla="*/ 23025 w 190073"/>
              <a:gd name="connsiteY9" fmla="*/ 113767 h 171822"/>
              <a:gd name="connsiteX10" fmla="*/ 40961 w 190073"/>
              <a:gd name="connsiteY10" fmla="*/ 128607 h 171822"/>
              <a:gd name="connsiteX11" fmla="*/ 60173 w 190073"/>
              <a:gd name="connsiteY11" fmla="*/ 147105 h 171822"/>
              <a:gd name="connsiteX12" fmla="*/ 66098 w 190073"/>
              <a:gd name="connsiteY12" fmla="*/ 160354 h 171822"/>
              <a:gd name="connsiteX13" fmla="*/ 92644 w 190073"/>
              <a:gd name="connsiteY13" fmla="*/ 162230 h 171822"/>
              <a:gd name="connsiteX14" fmla="*/ 96330 w 190073"/>
              <a:gd name="connsiteY14" fmla="*/ 165888 h 171822"/>
              <a:gd name="connsiteX15" fmla="*/ 125172 w 190073"/>
              <a:gd name="connsiteY15" fmla="*/ 165888 h 171822"/>
              <a:gd name="connsiteX16" fmla="*/ 131077 w 190073"/>
              <a:gd name="connsiteY16" fmla="*/ 153334 h 171822"/>
              <a:gd name="connsiteX17" fmla="*/ 149556 w 190073"/>
              <a:gd name="connsiteY17" fmla="*/ 134932 h 171822"/>
              <a:gd name="connsiteX18" fmla="*/ 167367 w 190073"/>
              <a:gd name="connsiteY18" fmla="*/ 119654 h 171822"/>
              <a:gd name="connsiteX19" fmla="*/ 184131 w 190073"/>
              <a:gd name="connsiteY19" fmla="*/ 113881 h 171822"/>
              <a:gd name="connsiteX20" fmla="*/ 184254 w 190073"/>
              <a:gd name="connsiteY20" fmla="*/ 85486 h 171822"/>
              <a:gd name="connsiteX21" fmla="*/ 184131 w 190073"/>
              <a:gd name="connsiteY21" fmla="*/ 85364 h 171822"/>
              <a:gd name="connsiteX22" fmla="*/ 176197 w 190073"/>
              <a:gd name="connsiteY22" fmla="*/ 77467 h 171822"/>
              <a:gd name="connsiteX23" fmla="*/ 177835 w 190073"/>
              <a:gd name="connsiteY23" fmla="*/ 71124 h 171822"/>
              <a:gd name="connsiteX24" fmla="*/ 172835 w 190073"/>
              <a:gd name="connsiteY24" fmla="*/ 30138 h 171822"/>
              <a:gd name="connsiteX25" fmla="*/ 122324 w 190073"/>
              <a:gd name="connsiteY25" fmla="*/ 39 h 171822"/>
              <a:gd name="connsiteX26" fmla="*/ 107017 w 190073"/>
              <a:gd name="connsiteY26" fmla="*/ 39 h 171822"/>
              <a:gd name="connsiteX27" fmla="*/ 105055 w 190073"/>
              <a:gd name="connsiteY27" fmla="*/ 0 h 171822"/>
              <a:gd name="connsiteX28" fmla="*/ 97521 w 190073"/>
              <a:gd name="connsiteY28" fmla="*/ 0 h 171822"/>
              <a:gd name="connsiteX29" fmla="*/ 125372 w 190073"/>
              <a:gd name="connsiteY29" fmla="*/ 47102 h 171822"/>
              <a:gd name="connsiteX30" fmla="*/ 158366 w 190073"/>
              <a:gd name="connsiteY30" fmla="*/ 79887 h 171822"/>
              <a:gd name="connsiteX31" fmla="*/ 158395 w 190073"/>
              <a:gd name="connsiteY31" fmla="*/ 79925 h 171822"/>
              <a:gd name="connsiteX32" fmla="*/ 158528 w 190073"/>
              <a:gd name="connsiteY32" fmla="*/ 80049 h 171822"/>
              <a:gd name="connsiteX33" fmla="*/ 174006 w 190073"/>
              <a:gd name="connsiteY33" fmla="*/ 95431 h 171822"/>
              <a:gd name="connsiteX34" fmla="*/ 174037 w 190073"/>
              <a:gd name="connsiteY34" fmla="*/ 103783 h 171822"/>
              <a:gd name="connsiteX35" fmla="*/ 174006 w 190073"/>
              <a:gd name="connsiteY35" fmla="*/ 103813 h 171822"/>
              <a:gd name="connsiteX36" fmla="*/ 165567 w 190073"/>
              <a:gd name="connsiteY36" fmla="*/ 103813 h 171822"/>
              <a:gd name="connsiteX37" fmla="*/ 150089 w 190073"/>
              <a:gd name="connsiteY37" fmla="*/ 88431 h 171822"/>
              <a:gd name="connsiteX38" fmla="*/ 139954 w 190073"/>
              <a:gd name="connsiteY38" fmla="*/ 88431 h 171822"/>
              <a:gd name="connsiteX39" fmla="*/ 139802 w 190073"/>
              <a:gd name="connsiteY39" fmla="*/ 88593 h 171822"/>
              <a:gd name="connsiteX40" fmla="*/ 139756 w 190073"/>
              <a:gd name="connsiteY40" fmla="*/ 98615 h 171822"/>
              <a:gd name="connsiteX41" fmla="*/ 139802 w 190073"/>
              <a:gd name="connsiteY41" fmla="*/ 98660 h 171822"/>
              <a:gd name="connsiteX42" fmla="*/ 151861 w 190073"/>
              <a:gd name="connsiteY42" fmla="*/ 110652 h 171822"/>
              <a:gd name="connsiteX43" fmla="*/ 151891 w 190073"/>
              <a:gd name="connsiteY43" fmla="*/ 119004 h 171822"/>
              <a:gd name="connsiteX44" fmla="*/ 151861 w 190073"/>
              <a:gd name="connsiteY44" fmla="*/ 119034 h 171822"/>
              <a:gd name="connsiteX45" fmla="*/ 144060 w 190073"/>
              <a:gd name="connsiteY45" fmla="*/ 119606 h 171822"/>
              <a:gd name="connsiteX46" fmla="*/ 134658 w 190073"/>
              <a:gd name="connsiteY46" fmla="*/ 120273 h 171822"/>
              <a:gd name="connsiteX47" fmla="*/ 134068 w 190073"/>
              <a:gd name="connsiteY47" fmla="*/ 129626 h 171822"/>
              <a:gd name="connsiteX48" fmla="*/ 133544 w 190073"/>
              <a:gd name="connsiteY48" fmla="*/ 137427 h 171822"/>
              <a:gd name="connsiteX49" fmla="*/ 125638 w 190073"/>
              <a:gd name="connsiteY49" fmla="*/ 137903 h 171822"/>
              <a:gd name="connsiteX50" fmla="*/ 116161 w 190073"/>
              <a:gd name="connsiteY50" fmla="*/ 138446 h 171822"/>
              <a:gd name="connsiteX51" fmla="*/ 115551 w 190073"/>
              <a:gd name="connsiteY51" fmla="*/ 147867 h 171822"/>
              <a:gd name="connsiteX52" fmla="*/ 115037 w 190073"/>
              <a:gd name="connsiteY52" fmla="*/ 155810 h 171822"/>
              <a:gd name="connsiteX53" fmla="*/ 106464 w 190073"/>
              <a:gd name="connsiteY53" fmla="*/ 155810 h 171822"/>
              <a:gd name="connsiteX54" fmla="*/ 102921 w 190073"/>
              <a:gd name="connsiteY54" fmla="*/ 152296 h 171822"/>
              <a:gd name="connsiteX55" fmla="*/ 103921 w 190073"/>
              <a:gd name="connsiteY55" fmla="*/ 151296 h 171822"/>
              <a:gd name="connsiteX56" fmla="*/ 104044 w 190073"/>
              <a:gd name="connsiteY56" fmla="*/ 122901 h 171822"/>
              <a:gd name="connsiteX57" fmla="*/ 103921 w 190073"/>
              <a:gd name="connsiteY57" fmla="*/ 122778 h 171822"/>
              <a:gd name="connsiteX58" fmla="*/ 90586 w 190073"/>
              <a:gd name="connsiteY58" fmla="*/ 116891 h 171822"/>
              <a:gd name="connsiteX59" fmla="*/ 71974 w 190073"/>
              <a:gd name="connsiteY59" fmla="*/ 97803 h 171822"/>
              <a:gd name="connsiteX60" fmla="*/ 66098 w 190073"/>
              <a:gd name="connsiteY60" fmla="*/ 85192 h 171822"/>
              <a:gd name="connsiteX61" fmla="*/ 49019 w 190073"/>
              <a:gd name="connsiteY61" fmla="*/ 79468 h 171822"/>
              <a:gd name="connsiteX62" fmla="*/ 28845 w 190073"/>
              <a:gd name="connsiteY62" fmla="*/ 64561 h 171822"/>
              <a:gd name="connsiteX63" fmla="*/ 41885 w 190073"/>
              <a:gd name="connsiteY63" fmla="*/ 27890 h 171822"/>
              <a:gd name="connsiteX64" fmla="*/ 75994 w 190073"/>
              <a:gd name="connsiteY64" fmla="*/ 14745 h 171822"/>
              <a:gd name="connsiteX65" fmla="*/ 61735 w 190073"/>
              <a:gd name="connsiteY65" fmla="*/ 25537 h 171822"/>
              <a:gd name="connsiteX66" fmla="*/ 57461 w 190073"/>
              <a:gd name="connsiteY66" fmla="*/ 56413 h 171822"/>
              <a:gd name="connsiteX67" fmla="*/ 57544 w 190073"/>
              <a:gd name="connsiteY67" fmla="*/ 56522 h 171822"/>
              <a:gd name="connsiteX68" fmla="*/ 88577 w 190073"/>
              <a:gd name="connsiteY68" fmla="*/ 60722 h 171822"/>
              <a:gd name="connsiteX69" fmla="*/ 106569 w 190073"/>
              <a:gd name="connsiteY69" fmla="*/ 47092 h 171822"/>
              <a:gd name="connsiteX70" fmla="*/ 125372 w 190073"/>
              <a:gd name="connsiteY70" fmla="*/ 47092 h 171822"/>
              <a:gd name="connsiteX71" fmla="*/ 70355 w 190073"/>
              <a:gd name="connsiteY71" fmla="*/ 36938 h 171822"/>
              <a:gd name="connsiteX72" fmla="*/ 100254 w 190073"/>
              <a:gd name="connsiteY72" fmla="*/ 14288 h 171822"/>
              <a:gd name="connsiteX73" fmla="*/ 105055 w 190073"/>
              <a:gd name="connsiteY73" fmla="*/ 14288 h 171822"/>
              <a:gd name="connsiteX74" fmla="*/ 106836 w 190073"/>
              <a:gd name="connsiteY74" fmla="*/ 14336 h 171822"/>
              <a:gd name="connsiteX75" fmla="*/ 122324 w 190073"/>
              <a:gd name="connsiteY75" fmla="*/ 14336 h 171822"/>
              <a:gd name="connsiteX76" fmla="*/ 160252 w 190073"/>
              <a:gd name="connsiteY76" fmla="*/ 36910 h 171822"/>
              <a:gd name="connsiteX77" fmla="*/ 164481 w 190073"/>
              <a:gd name="connsiteY77" fmla="*/ 65437 h 171822"/>
              <a:gd name="connsiteX78" fmla="*/ 133896 w 190073"/>
              <a:gd name="connsiteY78" fmla="*/ 34995 h 171822"/>
              <a:gd name="connsiteX79" fmla="*/ 128763 w 190073"/>
              <a:gd name="connsiteY79" fmla="*/ 32814 h 171822"/>
              <a:gd name="connsiteX80" fmla="*/ 104178 w 190073"/>
              <a:gd name="connsiteY80" fmla="*/ 32814 h 171822"/>
              <a:gd name="connsiteX81" fmla="*/ 99864 w 190073"/>
              <a:gd name="connsiteY81" fmla="*/ 34262 h 171822"/>
              <a:gd name="connsiteX82" fmla="*/ 79956 w 190073"/>
              <a:gd name="connsiteY82" fmla="*/ 49340 h 171822"/>
              <a:gd name="connsiteX83" fmla="*/ 68888 w 190073"/>
              <a:gd name="connsiteY83" fmla="*/ 47845 h 171822"/>
              <a:gd name="connsiteX84" fmla="*/ 70319 w 190073"/>
              <a:gd name="connsiteY84" fmla="*/ 36973 h 171822"/>
              <a:gd name="connsiteX85" fmla="*/ 70365 w 190073"/>
              <a:gd name="connsiteY85" fmla="*/ 36938 h 171822"/>
              <a:gd name="connsiteX86" fmla="*/ 38408 w 190073"/>
              <a:gd name="connsiteY86" fmla="*/ 112710 h 171822"/>
              <a:gd name="connsiteX87" fmla="*/ 38378 w 190073"/>
              <a:gd name="connsiteY87" fmla="*/ 104358 h 171822"/>
              <a:gd name="connsiteX88" fmla="*/ 38408 w 190073"/>
              <a:gd name="connsiteY88" fmla="*/ 104328 h 171822"/>
              <a:gd name="connsiteX89" fmla="*/ 47524 w 190073"/>
              <a:gd name="connsiteY89" fmla="*/ 95260 h 171822"/>
              <a:gd name="connsiteX90" fmla="*/ 55963 w 190073"/>
              <a:gd name="connsiteY90" fmla="*/ 95260 h 171822"/>
              <a:gd name="connsiteX91" fmla="*/ 56039 w 190073"/>
              <a:gd name="connsiteY91" fmla="*/ 103566 h 171822"/>
              <a:gd name="connsiteX92" fmla="*/ 55963 w 190073"/>
              <a:gd name="connsiteY92" fmla="*/ 103642 h 171822"/>
              <a:gd name="connsiteX93" fmla="*/ 46848 w 190073"/>
              <a:gd name="connsiteY93" fmla="*/ 112700 h 171822"/>
              <a:gd name="connsiteX94" fmla="*/ 46762 w 190073"/>
              <a:gd name="connsiteY94" fmla="*/ 112786 h 171822"/>
              <a:gd name="connsiteX95" fmla="*/ 38408 w 190073"/>
              <a:gd name="connsiteY95" fmla="*/ 112710 h 171822"/>
              <a:gd name="connsiteX96" fmla="*/ 33732 w 190073"/>
              <a:gd name="connsiteY96" fmla="*/ 80620 h 171822"/>
              <a:gd name="connsiteX97" fmla="*/ 33636 w 190073"/>
              <a:gd name="connsiteY97" fmla="*/ 88907 h 171822"/>
              <a:gd name="connsiteX98" fmla="*/ 24521 w 190073"/>
              <a:gd name="connsiteY98" fmla="*/ 97975 h 171822"/>
              <a:gd name="connsiteX99" fmla="*/ 16082 w 190073"/>
              <a:gd name="connsiteY99" fmla="*/ 97975 h 171822"/>
              <a:gd name="connsiteX100" fmla="*/ 16051 w 190073"/>
              <a:gd name="connsiteY100" fmla="*/ 89623 h 171822"/>
              <a:gd name="connsiteX101" fmla="*/ 16082 w 190073"/>
              <a:gd name="connsiteY101" fmla="*/ 89593 h 171822"/>
              <a:gd name="connsiteX102" fmla="*/ 25207 w 190073"/>
              <a:gd name="connsiteY102" fmla="*/ 80534 h 171822"/>
              <a:gd name="connsiteX103" fmla="*/ 33646 w 190073"/>
              <a:gd name="connsiteY103" fmla="*/ 80534 h 171822"/>
              <a:gd name="connsiteX104" fmla="*/ 33732 w 190073"/>
              <a:gd name="connsiteY104" fmla="*/ 80620 h 171822"/>
              <a:gd name="connsiteX105" fmla="*/ 84671 w 190073"/>
              <a:gd name="connsiteY105" fmla="*/ 150286 h 171822"/>
              <a:gd name="connsiteX106" fmla="*/ 76232 w 190073"/>
              <a:gd name="connsiteY106" fmla="*/ 150286 h 171822"/>
              <a:gd name="connsiteX107" fmla="*/ 76202 w 190073"/>
              <a:gd name="connsiteY107" fmla="*/ 141934 h 171822"/>
              <a:gd name="connsiteX108" fmla="*/ 76232 w 190073"/>
              <a:gd name="connsiteY108" fmla="*/ 141904 h 171822"/>
              <a:gd name="connsiteX109" fmla="*/ 85348 w 190073"/>
              <a:gd name="connsiteY109" fmla="*/ 132846 h 171822"/>
              <a:gd name="connsiteX110" fmla="*/ 93787 w 190073"/>
              <a:gd name="connsiteY110" fmla="*/ 132846 h 171822"/>
              <a:gd name="connsiteX111" fmla="*/ 93817 w 190073"/>
              <a:gd name="connsiteY111" fmla="*/ 141197 h 171822"/>
              <a:gd name="connsiteX112" fmla="*/ 93787 w 190073"/>
              <a:gd name="connsiteY112" fmla="*/ 141228 h 171822"/>
              <a:gd name="connsiteX113" fmla="*/ 84671 w 190073"/>
              <a:gd name="connsiteY113" fmla="*/ 150286 h 171822"/>
              <a:gd name="connsiteX114" fmla="*/ 65421 w 190073"/>
              <a:gd name="connsiteY114" fmla="*/ 131160 h 171822"/>
              <a:gd name="connsiteX115" fmla="*/ 56982 w 190073"/>
              <a:gd name="connsiteY115" fmla="*/ 131160 h 171822"/>
              <a:gd name="connsiteX116" fmla="*/ 56896 w 190073"/>
              <a:gd name="connsiteY116" fmla="*/ 122854 h 171822"/>
              <a:gd name="connsiteX117" fmla="*/ 56982 w 190073"/>
              <a:gd name="connsiteY117" fmla="*/ 122778 h 171822"/>
              <a:gd name="connsiteX118" fmla="*/ 66098 w 190073"/>
              <a:gd name="connsiteY118" fmla="*/ 113719 h 171822"/>
              <a:gd name="connsiteX119" fmla="*/ 66174 w 190073"/>
              <a:gd name="connsiteY119" fmla="*/ 113634 h 171822"/>
              <a:gd name="connsiteX120" fmla="*/ 74537 w 190073"/>
              <a:gd name="connsiteY120" fmla="*/ 113719 h 171822"/>
              <a:gd name="connsiteX121" fmla="*/ 74567 w 190073"/>
              <a:gd name="connsiteY121" fmla="*/ 122071 h 171822"/>
              <a:gd name="connsiteX122" fmla="*/ 74537 w 190073"/>
              <a:gd name="connsiteY122" fmla="*/ 122101 h 171822"/>
              <a:gd name="connsiteX123" fmla="*/ 65421 w 190073"/>
              <a:gd name="connsiteY123" fmla="*/ 131160 h 17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90073" h="171822">
                <a:moveTo>
                  <a:pt x="97511" y="0"/>
                </a:moveTo>
                <a:cubicBezTo>
                  <a:pt x="95368" y="1"/>
                  <a:pt x="93339" y="967"/>
                  <a:pt x="91986" y="2629"/>
                </a:cubicBezTo>
                <a:lnTo>
                  <a:pt x="91434" y="3039"/>
                </a:lnTo>
                <a:cubicBezTo>
                  <a:pt x="70333" y="-3383"/>
                  <a:pt x="47410" y="2298"/>
                  <a:pt x="31750" y="17831"/>
                </a:cubicBezTo>
                <a:cubicBezTo>
                  <a:pt x="17920" y="31527"/>
                  <a:pt x="11733" y="51163"/>
                  <a:pt x="15215" y="70314"/>
                </a:cubicBezTo>
                <a:lnTo>
                  <a:pt x="15072" y="70457"/>
                </a:lnTo>
                <a:lnTo>
                  <a:pt x="5947" y="79515"/>
                </a:lnTo>
                <a:cubicBezTo>
                  <a:pt x="-1930" y="87320"/>
                  <a:pt x="-1990" y="100033"/>
                  <a:pt x="5815" y="107910"/>
                </a:cubicBezTo>
                <a:cubicBezTo>
                  <a:pt x="5859" y="107955"/>
                  <a:pt x="5903" y="107999"/>
                  <a:pt x="5947" y="108043"/>
                </a:cubicBezTo>
                <a:cubicBezTo>
                  <a:pt x="10439" y="112504"/>
                  <a:pt x="16752" y="114621"/>
                  <a:pt x="23025" y="113767"/>
                </a:cubicBezTo>
                <a:cubicBezTo>
                  <a:pt x="25287" y="121995"/>
                  <a:pt x="32456" y="127926"/>
                  <a:pt x="40961" y="128607"/>
                </a:cubicBezTo>
                <a:cubicBezTo>
                  <a:pt x="41844" y="138707"/>
                  <a:pt x="50047" y="146605"/>
                  <a:pt x="60173" y="147105"/>
                </a:cubicBezTo>
                <a:cubicBezTo>
                  <a:pt x="60421" y="151934"/>
                  <a:pt x="62392" y="156677"/>
                  <a:pt x="66098" y="160354"/>
                </a:cubicBezTo>
                <a:cubicBezTo>
                  <a:pt x="73337" y="167555"/>
                  <a:pt x="84690" y="168174"/>
                  <a:pt x="92644" y="162230"/>
                </a:cubicBezTo>
                <a:lnTo>
                  <a:pt x="96330" y="165888"/>
                </a:lnTo>
                <a:cubicBezTo>
                  <a:pt x="104316" y="173800"/>
                  <a:pt x="117186" y="173800"/>
                  <a:pt x="125172" y="165888"/>
                </a:cubicBezTo>
                <a:cubicBezTo>
                  <a:pt x="128696" y="162383"/>
                  <a:pt x="130668" y="157906"/>
                  <a:pt x="131077" y="153334"/>
                </a:cubicBezTo>
                <a:cubicBezTo>
                  <a:pt x="140889" y="152502"/>
                  <a:pt x="148684" y="144740"/>
                  <a:pt x="149556" y="134932"/>
                </a:cubicBezTo>
                <a:cubicBezTo>
                  <a:pt x="158137" y="134143"/>
                  <a:pt x="165281" y="128015"/>
                  <a:pt x="167367" y="119654"/>
                </a:cubicBezTo>
                <a:cubicBezTo>
                  <a:pt x="173544" y="120394"/>
                  <a:pt x="179719" y="118267"/>
                  <a:pt x="184131" y="113881"/>
                </a:cubicBezTo>
                <a:cubicBezTo>
                  <a:pt x="192007" y="106074"/>
                  <a:pt x="192061" y="93361"/>
                  <a:pt x="184254" y="85486"/>
                </a:cubicBezTo>
                <a:cubicBezTo>
                  <a:pt x="184213" y="85445"/>
                  <a:pt x="184172" y="85404"/>
                  <a:pt x="184131" y="85364"/>
                </a:cubicBezTo>
                <a:lnTo>
                  <a:pt x="176197" y="77467"/>
                </a:lnTo>
                <a:lnTo>
                  <a:pt x="177835" y="71124"/>
                </a:lnTo>
                <a:cubicBezTo>
                  <a:pt x="181380" y="57319"/>
                  <a:pt x="179595" y="42685"/>
                  <a:pt x="172835" y="30138"/>
                </a:cubicBezTo>
                <a:cubicBezTo>
                  <a:pt x="162814" y="11578"/>
                  <a:pt x="143415" y="18"/>
                  <a:pt x="122324" y="39"/>
                </a:cubicBezTo>
                <a:lnTo>
                  <a:pt x="107017" y="39"/>
                </a:lnTo>
                <a:cubicBezTo>
                  <a:pt x="106364" y="10"/>
                  <a:pt x="105709" y="-3"/>
                  <a:pt x="105055" y="0"/>
                </a:cubicBezTo>
                <a:lnTo>
                  <a:pt x="97521" y="0"/>
                </a:lnTo>
                <a:close/>
                <a:moveTo>
                  <a:pt x="125372" y="47102"/>
                </a:moveTo>
                <a:lnTo>
                  <a:pt x="158366" y="79887"/>
                </a:lnTo>
                <a:lnTo>
                  <a:pt x="158395" y="79925"/>
                </a:lnTo>
                <a:lnTo>
                  <a:pt x="158528" y="80049"/>
                </a:lnTo>
                <a:lnTo>
                  <a:pt x="174006" y="95431"/>
                </a:lnTo>
                <a:cubicBezTo>
                  <a:pt x="176321" y="97729"/>
                  <a:pt x="176334" y="101468"/>
                  <a:pt x="174037" y="103783"/>
                </a:cubicBezTo>
                <a:cubicBezTo>
                  <a:pt x="174026" y="103793"/>
                  <a:pt x="174017" y="103803"/>
                  <a:pt x="174006" y="103813"/>
                </a:cubicBezTo>
                <a:cubicBezTo>
                  <a:pt x="171668" y="106125"/>
                  <a:pt x="167906" y="106125"/>
                  <a:pt x="165567" y="103813"/>
                </a:cubicBezTo>
                <a:lnTo>
                  <a:pt x="150089" y="88431"/>
                </a:lnTo>
                <a:cubicBezTo>
                  <a:pt x="147283" y="85651"/>
                  <a:pt x="142760" y="85651"/>
                  <a:pt x="139954" y="88431"/>
                </a:cubicBezTo>
                <a:lnTo>
                  <a:pt x="139802" y="88593"/>
                </a:lnTo>
                <a:cubicBezTo>
                  <a:pt x="137022" y="91347"/>
                  <a:pt x="137002" y="95834"/>
                  <a:pt x="139756" y="98615"/>
                </a:cubicBezTo>
                <a:cubicBezTo>
                  <a:pt x="139772" y="98630"/>
                  <a:pt x="139787" y="98645"/>
                  <a:pt x="139802" y="98660"/>
                </a:cubicBezTo>
                <a:lnTo>
                  <a:pt x="151861" y="110652"/>
                </a:lnTo>
                <a:cubicBezTo>
                  <a:pt x="154175" y="112950"/>
                  <a:pt x="154189" y="116689"/>
                  <a:pt x="151891" y="119004"/>
                </a:cubicBezTo>
                <a:cubicBezTo>
                  <a:pt x="151881" y="119014"/>
                  <a:pt x="151871" y="119024"/>
                  <a:pt x="151861" y="119034"/>
                </a:cubicBezTo>
                <a:cubicBezTo>
                  <a:pt x="149758" y="121126"/>
                  <a:pt x="146444" y="121369"/>
                  <a:pt x="144060" y="119606"/>
                </a:cubicBezTo>
                <a:cubicBezTo>
                  <a:pt x="141195" y="117462"/>
                  <a:pt x="137191" y="117746"/>
                  <a:pt x="134658" y="120273"/>
                </a:cubicBezTo>
                <a:cubicBezTo>
                  <a:pt x="132133" y="122797"/>
                  <a:pt x="131881" y="126805"/>
                  <a:pt x="134068" y="129626"/>
                </a:cubicBezTo>
                <a:cubicBezTo>
                  <a:pt x="135886" y="131987"/>
                  <a:pt x="135661" y="135332"/>
                  <a:pt x="133544" y="137427"/>
                </a:cubicBezTo>
                <a:cubicBezTo>
                  <a:pt x="131403" y="139549"/>
                  <a:pt x="128019" y="139753"/>
                  <a:pt x="125638" y="137903"/>
                </a:cubicBezTo>
                <a:cubicBezTo>
                  <a:pt x="122790" y="135681"/>
                  <a:pt x="118736" y="135914"/>
                  <a:pt x="116161" y="138446"/>
                </a:cubicBezTo>
                <a:cubicBezTo>
                  <a:pt x="113591" y="140974"/>
                  <a:pt x="113329" y="145028"/>
                  <a:pt x="115551" y="147867"/>
                </a:cubicBezTo>
                <a:cubicBezTo>
                  <a:pt x="117413" y="150263"/>
                  <a:pt x="117192" y="153674"/>
                  <a:pt x="115037" y="155810"/>
                </a:cubicBezTo>
                <a:cubicBezTo>
                  <a:pt x="112662" y="158159"/>
                  <a:pt x="108839" y="158159"/>
                  <a:pt x="106464" y="155810"/>
                </a:cubicBezTo>
                <a:lnTo>
                  <a:pt x="102921" y="152296"/>
                </a:lnTo>
                <a:lnTo>
                  <a:pt x="103921" y="151296"/>
                </a:lnTo>
                <a:cubicBezTo>
                  <a:pt x="111797" y="143488"/>
                  <a:pt x="111851" y="130775"/>
                  <a:pt x="104044" y="122901"/>
                </a:cubicBezTo>
                <a:cubicBezTo>
                  <a:pt x="104003" y="122860"/>
                  <a:pt x="103962" y="122819"/>
                  <a:pt x="103921" y="122778"/>
                </a:cubicBezTo>
                <a:cubicBezTo>
                  <a:pt x="100359" y="119232"/>
                  <a:pt x="95607" y="117134"/>
                  <a:pt x="90586" y="116891"/>
                </a:cubicBezTo>
                <a:cubicBezTo>
                  <a:pt x="90024" y="106772"/>
                  <a:pt x="82077" y="98620"/>
                  <a:pt x="71974" y="97803"/>
                </a:cubicBezTo>
                <a:cubicBezTo>
                  <a:pt x="71584" y="93032"/>
                  <a:pt x="69500" y="88559"/>
                  <a:pt x="66098" y="85192"/>
                </a:cubicBezTo>
                <a:cubicBezTo>
                  <a:pt x="61606" y="80731"/>
                  <a:pt x="55293" y="78614"/>
                  <a:pt x="49019" y="79468"/>
                </a:cubicBezTo>
                <a:cubicBezTo>
                  <a:pt x="46531" y="70445"/>
                  <a:pt x="38201" y="64290"/>
                  <a:pt x="28845" y="64561"/>
                </a:cubicBezTo>
                <a:cubicBezTo>
                  <a:pt x="27380" y="50989"/>
                  <a:pt x="32180" y="37490"/>
                  <a:pt x="41885" y="27890"/>
                </a:cubicBezTo>
                <a:cubicBezTo>
                  <a:pt x="50911" y="18923"/>
                  <a:pt x="63285" y="14154"/>
                  <a:pt x="75994" y="14745"/>
                </a:cubicBezTo>
                <a:lnTo>
                  <a:pt x="61735" y="25537"/>
                </a:lnTo>
                <a:cubicBezTo>
                  <a:pt x="52029" y="32883"/>
                  <a:pt x="50115" y="46707"/>
                  <a:pt x="57461" y="56413"/>
                </a:cubicBezTo>
                <a:cubicBezTo>
                  <a:pt x="57489" y="56449"/>
                  <a:pt x="57516" y="56486"/>
                  <a:pt x="57544" y="56522"/>
                </a:cubicBezTo>
                <a:cubicBezTo>
                  <a:pt x="64977" y="66211"/>
                  <a:pt x="78835" y="68087"/>
                  <a:pt x="88577" y="60722"/>
                </a:cubicBezTo>
                <a:lnTo>
                  <a:pt x="106569" y="47092"/>
                </a:lnTo>
                <a:lnTo>
                  <a:pt x="125372" y="47092"/>
                </a:lnTo>
                <a:close/>
                <a:moveTo>
                  <a:pt x="70355" y="36938"/>
                </a:moveTo>
                <a:lnTo>
                  <a:pt x="100254" y="14288"/>
                </a:lnTo>
                <a:lnTo>
                  <a:pt x="105055" y="14288"/>
                </a:lnTo>
                <a:cubicBezTo>
                  <a:pt x="105649" y="14284"/>
                  <a:pt x="106243" y="14299"/>
                  <a:pt x="106836" y="14336"/>
                </a:cubicBezTo>
                <a:lnTo>
                  <a:pt x="122324" y="14336"/>
                </a:lnTo>
                <a:cubicBezTo>
                  <a:pt x="138155" y="14314"/>
                  <a:pt x="152722" y="22984"/>
                  <a:pt x="160252" y="36910"/>
                </a:cubicBezTo>
                <a:cubicBezTo>
                  <a:pt x="164967" y="45673"/>
                  <a:pt x="166443" y="55750"/>
                  <a:pt x="164481" y="65437"/>
                </a:cubicBezTo>
                <a:lnTo>
                  <a:pt x="133896" y="34995"/>
                </a:lnTo>
                <a:cubicBezTo>
                  <a:pt x="132552" y="33603"/>
                  <a:pt x="130699" y="32815"/>
                  <a:pt x="128763" y="32814"/>
                </a:cubicBezTo>
                <a:lnTo>
                  <a:pt x="104178" y="32814"/>
                </a:lnTo>
                <a:cubicBezTo>
                  <a:pt x="102621" y="32813"/>
                  <a:pt x="101106" y="33322"/>
                  <a:pt x="99864" y="34262"/>
                </a:cubicBezTo>
                <a:lnTo>
                  <a:pt x="79956" y="49340"/>
                </a:lnTo>
                <a:cubicBezTo>
                  <a:pt x="76482" y="51962"/>
                  <a:pt x="71543" y="51295"/>
                  <a:pt x="68888" y="47845"/>
                </a:cubicBezTo>
                <a:cubicBezTo>
                  <a:pt x="66281" y="44448"/>
                  <a:pt x="66922" y="39580"/>
                  <a:pt x="70319" y="36973"/>
                </a:cubicBezTo>
                <a:cubicBezTo>
                  <a:pt x="70334" y="36962"/>
                  <a:pt x="70349" y="36950"/>
                  <a:pt x="70365" y="36938"/>
                </a:cubicBezTo>
                <a:close/>
                <a:moveTo>
                  <a:pt x="38408" y="112710"/>
                </a:moveTo>
                <a:cubicBezTo>
                  <a:pt x="36094" y="110412"/>
                  <a:pt x="36080" y="106673"/>
                  <a:pt x="38378" y="104358"/>
                </a:cubicBezTo>
                <a:cubicBezTo>
                  <a:pt x="38388" y="104348"/>
                  <a:pt x="38398" y="104338"/>
                  <a:pt x="38408" y="104328"/>
                </a:cubicBezTo>
                <a:lnTo>
                  <a:pt x="47524" y="95260"/>
                </a:lnTo>
                <a:cubicBezTo>
                  <a:pt x="49862" y="92948"/>
                  <a:pt x="53625" y="92948"/>
                  <a:pt x="55963" y="95260"/>
                </a:cubicBezTo>
                <a:cubicBezTo>
                  <a:pt x="58260" y="97540"/>
                  <a:pt x="58294" y="101244"/>
                  <a:pt x="56039" y="103566"/>
                </a:cubicBezTo>
                <a:lnTo>
                  <a:pt x="55963" y="103642"/>
                </a:lnTo>
                <a:lnTo>
                  <a:pt x="46848" y="112700"/>
                </a:lnTo>
                <a:lnTo>
                  <a:pt x="46762" y="112786"/>
                </a:lnTo>
                <a:cubicBezTo>
                  <a:pt x="44414" y="115022"/>
                  <a:pt x="40715" y="114987"/>
                  <a:pt x="38408" y="112710"/>
                </a:cubicBezTo>
                <a:close/>
                <a:moveTo>
                  <a:pt x="33732" y="80620"/>
                </a:moveTo>
                <a:cubicBezTo>
                  <a:pt x="35979" y="82940"/>
                  <a:pt x="35937" y="86639"/>
                  <a:pt x="33636" y="88907"/>
                </a:cubicBezTo>
                <a:lnTo>
                  <a:pt x="24521" y="97975"/>
                </a:lnTo>
                <a:cubicBezTo>
                  <a:pt x="22183" y="100286"/>
                  <a:pt x="18420" y="100286"/>
                  <a:pt x="16082" y="97975"/>
                </a:cubicBezTo>
                <a:cubicBezTo>
                  <a:pt x="13767" y="95677"/>
                  <a:pt x="13754" y="91938"/>
                  <a:pt x="16051" y="89623"/>
                </a:cubicBezTo>
                <a:cubicBezTo>
                  <a:pt x="16061" y="89613"/>
                  <a:pt x="16072" y="89603"/>
                  <a:pt x="16082" y="89593"/>
                </a:cubicBezTo>
                <a:lnTo>
                  <a:pt x="25207" y="80534"/>
                </a:lnTo>
                <a:cubicBezTo>
                  <a:pt x="27545" y="78223"/>
                  <a:pt x="31308" y="78223"/>
                  <a:pt x="33646" y="80534"/>
                </a:cubicBezTo>
                <a:lnTo>
                  <a:pt x="33732" y="80620"/>
                </a:lnTo>
                <a:close/>
                <a:moveTo>
                  <a:pt x="84671" y="150286"/>
                </a:moveTo>
                <a:cubicBezTo>
                  <a:pt x="82333" y="152598"/>
                  <a:pt x="78571" y="152598"/>
                  <a:pt x="76232" y="150286"/>
                </a:cubicBezTo>
                <a:cubicBezTo>
                  <a:pt x="73917" y="147988"/>
                  <a:pt x="73904" y="144249"/>
                  <a:pt x="76202" y="141934"/>
                </a:cubicBezTo>
                <a:cubicBezTo>
                  <a:pt x="76212" y="141924"/>
                  <a:pt x="76222" y="141914"/>
                  <a:pt x="76232" y="141904"/>
                </a:cubicBezTo>
                <a:lnTo>
                  <a:pt x="85348" y="132846"/>
                </a:lnTo>
                <a:cubicBezTo>
                  <a:pt x="87686" y="130534"/>
                  <a:pt x="91448" y="130534"/>
                  <a:pt x="93787" y="132846"/>
                </a:cubicBezTo>
                <a:cubicBezTo>
                  <a:pt x="96101" y="135143"/>
                  <a:pt x="96115" y="138883"/>
                  <a:pt x="93817" y="141197"/>
                </a:cubicBezTo>
                <a:cubicBezTo>
                  <a:pt x="93807" y="141208"/>
                  <a:pt x="93797" y="141217"/>
                  <a:pt x="93787" y="141228"/>
                </a:cubicBezTo>
                <a:lnTo>
                  <a:pt x="84671" y="150286"/>
                </a:lnTo>
                <a:close/>
                <a:moveTo>
                  <a:pt x="65421" y="131160"/>
                </a:moveTo>
                <a:cubicBezTo>
                  <a:pt x="63085" y="133477"/>
                  <a:pt x="59318" y="133477"/>
                  <a:pt x="56982" y="131160"/>
                </a:cubicBezTo>
                <a:cubicBezTo>
                  <a:pt x="54682" y="128882"/>
                  <a:pt x="54644" y="125178"/>
                  <a:pt x="56896" y="122854"/>
                </a:cubicBezTo>
                <a:lnTo>
                  <a:pt x="56982" y="122778"/>
                </a:lnTo>
                <a:lnTo>
                  <a:pt x="66098" y="113719"/>
                </a:lnTo>
                <a:lnTo>
                  <a:pt x="66174" y="113634"/>
                </a:lnTo>
                <a:cubicBezTo>
                  <a:pt x="68525" y="111395"/>
                  <a:pt x="72231" y="111433"/>
                  <a:pt x="74537" y="113719"/>
                </a:cubicBezTo>
                <a:cubicBezTo>
                  <a:pt x="76851" y="116017"/>
                  <a:pt x="76865" y="119756"/>
                  <a:pt x="74567" y="122071"/>
                </a:cubicBezTo>
                <a:cubicBezTo>
                  <a:pt x="74557" y="122081"/>
                  <a:pt x="74547" y="122091"/>
                  <a:pt x="74537" y="122101"/>
                </a:cubicBezTo>
                <a:lnTo>
                  <a:pt x="65421" y="131160"/>
                </a:lnTo>
                <a:close/>
              </a:path>
            </a:pathLst>
          </a:custGeom>
          <a:solidFill>
            <a:schemeClr val="bg1"/>
          </a:solidFill>
          <a:ln w="15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Tree>
    <p:extLst>
      <p:ext uri="{BB962C8B-B14F-4D97-AF65-F5344CB8AC3E}">
        <p14:creationId xmlns:p14="http://schemas.microsoft.com/office/powerpoint/2010/main" val="423486677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88874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6BE364DA-A19B-30EA-9B1B-320F7978267C}"/>
              </a:ext>
            </a:extLst>
          </p:cNvPr>
          <p:cNvSpPr txBox="1">
            <a:spLocks/>
          </p:cNvSpPr>
          <p:nvPr/>
        </p:nvSpPr>
        <p:spPr>
          <a:xfrm>
            <a:off x="861977"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it-it" sz="3600" b="0">
                <a:ln w="3175">
                  <a:noFill/>
                </a:ln>
                <a:solidFill>
                  <a:schemeClr val="bg1"/>
                </a:solidFill>
                <a:latin typeface="Segoe Sans Display Semibold" pitchFamily="2" charset="0"/>
                <a:cs typeface="Segoe Sans Display Semibold" pitchFamily="2" charset="0"/>
              </a:rPr>
              <a:t>Durante la presentazione</a:t>
            </a:r>
          </a:p>
        </p:txBody>
      </p:sp>
      <p:sp>
        <p:nvSpPr>
          <p:cNvPr id="7" name="TextBox 6">
            <a:extLst>
              <a:ext uri="{FF2B5EF4-FFF2-40B4-BE49-F238E27FC236}">
                <a16:creationId xmlns:a16="http://schemas.microsoft.com/office/drawing/2014/main" id="{04F19507-F8D1-A92F-0092-3D1FC7B67534}"/>
              </a:ext>
            </a:extLst>
          </p:cNvPr>
          <p:cNvSpPr txBox="1"/>
          <p:nvPr/>
        </p:nvSpPr>
        <p:spPr>
          <a:xfrm>
            <a:off x="1613676" y="2794071"/>
            <a:ext cx="4114800" cy="27751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800" b="0" i="0" u="none" strike="noStrike" kern="1200" cap="none" spc="0" normalizeH="0" noProof="0" dirty="0">
                <a:ln>
                  <a:noFill/>
                </a:ln>
                <a:solidFill>
                  <a:schemeClr val="bg1"/>
                </a:solidFill>
                <a:effectLst/>
                <a:uLnTx/>
                <a:uFillTx/>
                <a:ea typeface="+mn-ea"/>
                <a:cs typeface="Segoe UI Light" panose="020B0502040204020203" pitchFamily="34" charset="0"/>
              </a:rPr>
              <a:t>L’audio dei microfoni sarà disattivato</a:t>
            </a:r>
          </a:p>
        </p:txBody>
      </p:sp>
      <p:sp>
        <p:nvSpPr>
          <p:cNvPr id="8" name="TextBox 7">
            <a:extLst>
              <a:ext uri="{FF2B5EF4-FFF2-40B4-BE49-F238E27FC236}">
                <a16:creationId xmlns:a16="http://schemas.microsoft.com/office/drawing/2014/main" id="{34C57B09-A016-CF69-732F-36AE6C88041B}"/>
              </a:ext>
            </a:extLst>
          </p:cNvPr>
          <p:cNvSpPr txBox="1"/>
          <p:nvPr/>
        </p:nvSpPr>
        <p:spPr>
          <a:xfrm>
            <a:off x="1613678" y="3838334"/>
            <a:ext cx="4025121" cy="180100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800" b="0" i="0" u="none" strike="noStrike" kern="1200" cap="none" spc="0" normalizeH="0" noProof="0" dirty="0">
                <a:ln>
                  <a:noFill/>
                </a:ln>
                <a:solidFill>
                  <a:schemeClr val="bg1"/>
                </a:solidFill>
                <a:effectLst/>
                <a:uLnTx/>
                <a:uFillTx/>
                <a:ea typeface="+mn-ea"/>
                <a:cs typeface="Segoe UI Light" panose="020B0502040204020203" pitchFamily="34" charset="0"/>
              </a:rPr>
              <a:t>Fai le tue domande tramite chat: le prenderemo in considerazione, rispondendo in diretta o non appena possibile. Le domande più frequenti verranno risposte a voce durante l’incontro</a:t>
            </a:r>
          </a:p>
        </p:txBody>
      </p:sp>
      <p:pic>
        <p:nvPicPr>
          <p:cNvPr id="9" name="Graphic 8">
            <a:extLst>
              <a:ext uri="{FF2B5EF4-FFF2-40B4-BE49-F238E27FC236}">
                <a16:creationId xmlns:a16="http://schemas.microsoft.com/office/drawing/2014/main" id="{6C3F7F46-1559-08E6-598A-15137726ABDC}"/>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11177" y="2644616"/>
            <a:ext cx="576422" cy="576422"/>
          </a:xfrm>
          <a:prstGeom prst="rect">
            <a:avLst/>
          </a:prstGeom>
        </p:spPr>
      </p:pic>
      <p:sp>
        <p:nvSpPr>
          <p:cNvPr id="10" name="Graphic 15">
            <a:extLst>
              <a:ext uri="{FF2B5EF4-FFF2-40B4-BE49-F238E27FC236}">
                <a16:creationId xmlns:a16="http://schemas.microsoft.com/office/drawing/2014/main" id="{835636AA-5253-4436-44BF-0C11631D929B}"/>
              </a:ext>
              <a:ext uri="{C183D7F6-B498-43B3-948B-1728B52AA6E4}">
                <adec:decorative xmlns:adec="http://schemas.microsoft.com/office/drawing/2017/decorative" val="1"/>
              </a:ext>
            </a:extLst>
          </p:cNvPr>
          <p:cNvSpPr>
            <a:spLocks noChangeAspect="1"/>
          </p:cNvSpPr>
          <p:nvPr/>
        </p:nvSpPr>
        <p:spPr>
          <a:xfrm>
            <a:off x="811176" y="3838333"/>
            <a:ext cx="487787" cy="437720"/>
          </a:xfrm>
          <a:custGeom>
            <a:avLst/>
            <a:gdLst>
              <a:gd name="connsiteX0" fmla="*/ 111552 w 295982"/>
              <a:gd name="connsiteY0" fmla="*/ 0 h 265602"/>
              <a:gd name="connsiteX1" fmla="*/ 908 w 295982"/>
              <a:gd name="connsiteY1" fmla="*/ 110643 h 265602"/>
              <a:gd name="connsiteX2" fmla="*/ 11274 w 295982"/>
              <a:gd name="connsiteY2" fmla="*/ 157458 h 265602"/>
              <a:gd name="connsiteX3" fmla="*/ 590 w 295982"/>
              <a:gd name="connsiteY3" fmla="*/ 199374 h 265602"/>
              <a:gd name="connsiteX4" fmla="*/ 22774 w 295982"/>
              <a:gd name="connsiteY4" fmla="*/ 221862 h 265602"/>
              <a:gd name="connsiteX5" fmla="*/ 66009 w 295982"/>
              <a:gd name="connsiteY5" fmla="*/ 211505 h 265602"/>
              <a:gd name="connsiteX6" fmla="*/ 111552 w 295982"/>
              <a:gd name="connsiteY6" fmla="*/ 221286 h 265602"/>
              <a:gd name="connsiteX7" fmla="*/ 222195 w 295982"/>
              <a:gd name="connsiteY7" fmla="*/ 110643 h 265602"/>
              <a:gd name="connsiteX8" fmla="*/ 111552 w 295982"/>
              <a:gd name="connsiteY8" fmla="*/ 0 h 265602"/>
              <a:gd name="connsiteX9" fmla="*/ 23037 w 295982"/>
              <a:gd name="connsiteY9" fmla="*/ 110643 h 265602"/>
              <a:gd name="connsiteX10" fmla="*/ 111552 w 295982"/>
              <a:gd name="connsiteY10" fmla="*/ 22129 h 265602"/>
              <a:gd name="connsiteX11" fmla="*/ 200066 w 295982"/>
              <a:gd name="connsiteY11" fmla="*/ 110643 h 265602"/>
              <a:gd name="connsiteX12" fmla="*/ 111552 w 295982"/>
              <a:gd name="connsiteY12" fmla="*/ 199158 h 265602"/>
              <a:gd name="connsiteX13" fmla="*/ 72163 w 295982"/>
              <a:gd name="connsiteY13" fmla="*/ 189936 h 265602"/>
              <a:gd name="connsiteX14" fmla="*/ 68572 w 295982"/>
              <a:gd name="connsiteY14" fmla="*/ 188148 h 265602"/>
              <a:gd name="connsiteX15" fmla="*/ 64670 w 295982"/>
              <a:gd name="connsiteY15" fmla="*/ 189077 h 265602"/>
              <a:gd name="connsiteX16" fmla="*/ 23544 w 295982"/>
              <a:gd name="connsiteY16" fmla="*/ 198919 h 265602"/>
              <a:gd name="connsiteX17" fmla="*/ 33724 w 295982"/>
              <a:gd name="connsiteY17" fmla="*/ 158968 h 265602"/>
              <a:gd name="connsiteX18" fmla="*/ 34759 w 295982"/>
              <a:gd name="connsiteY18" fmla="*/ 154897 h 265602"/>
              <a:gd name="connsiteX19" fmla="*/ 32834 w 295982"/>
              <a:gd name="connsiteY19" fmla="*/ 151165 h 265602"/>
              <a:gd name="connsiteX20" fmla="*/ 23037 w 295982"/>
              <a:gd name="connsiteY20" fmla="*/ 110643 h 265602"/>
              <a:gd name="connsiteX21" fmla="*/ 185314 w 295982"/>
              <a:gd name="connsiteY21" fmla="*/ 265545 h 265602"/>
              <a:gd name="connsiteX22" fmla="*/ 110081 w 295982"/>
              <a:gd name="connsiteY22" fmla="*/ 236031 h 265602"/>
              <a:gd name="connsiteX23" fmla="*/ 111552 w 295982"/>
              <a:gd name="connsiteY23" fmla="*/ 236040 h 265602"/>
              <a:gd name="connsiteX24" fmla="*/ 142253 w 295982"/>
              <a:gd name="connsiteY24" fmla="*/ 232253 h 265602"/>
              <a:gd name="connsiteX25" fmla="*/ 185314 w 295982"/>
              <a:gd name="connsiteY25" fmla="*/ 243416 h 265602"/>
              <a:gd name="connsiteX26" fmla="*/ 224703 w 295982"/>
              <a:gd name="connsiteY26" fmla="*/ 234193 h 265602"/>
              <a:gd name="connsiteX27" fmla="*/ 228294 w 295982"/>
              <a:gd name="connsiteY27" fmla="*/ 232405 h 265602"/>
              <a:gd name="connsiteX28" fmla="*/ 232196 w 295982"/>
              <a:gd name="connsiteY28" fmla="*/ 233335 h 265602"/>
              <a:gd name="connsiteX29" fmla="*/ 272606 w 295982"/>
              <a:gd name="connsiteY29" fmla="*/ 242326 h 265602"/>
              <a:gd name="connsiteX30" fmla="*/ 263142 w 295982"/>
              <a:gd name="connsiteY30" fmla="*/ 203225 h 265602"/>
              <a:gd name="connsiteX31" fmla="*/ 262106 w 295982"/>
              <a:gd name="connsiteY31" fmla="*/ 199156 h 265602"/>
              <a:gd name="connsiteX32" fmla="*/ 264031 w 295982"/>
              <a:gd name="connsiteY32" fmla="*/ 195424 h 265602"/>
              <a:gd name="connsiteX33" fmla="*/ 273828 w 295982"/>
              <a:gd name="connsiteY33" fmla="*/ 154902 h 265602"/>
              <a:gd name="connsiteX34" fmla="*/ 233304 w 295982"/>
              <a:gd name="connsiteY34" fmla="*/ 80513 h 265602"/>
              <a:gd name="connsiteX35" fmla="*/ 221508 w 295982"/>
              <a:gd name="connsiteY35" fmla="*/ 50313 h 265602"/>
              <a:gd name="connsiteX36" fmla="*/ 295957 w 295982"/>
              <a:gd name="connsiteY36" fmla="*/ 154902 h 265602"/>
              <a:gd name="connsiteX37" fmla="*/ 285586 w 295982"/>
              <a:gd name="connsiteY37" fmla="*/ 201726 h 265602"/>
              <a:gd name="connsiteX38" fmla="*/ 295497 w 295982"/>
              <a:gd name="connsiteY38" fmla="*/ 243080 h 265602"/>
              <a:gd name="connsiteX39" fmla="*/ 273849 w 295982"/>
              <a:gd name="connsiteY39" fmla="*/ 265201 h 265602"/>
              <a:gd name="connsiteX40" fmla="*/ 230868 w 295982"/>
              <a:gd name="connsiteY40" fmla="*/ 255758 h 265602"/>
              <a:gd name="connsiteX41" fmla="*/ 185314 w 295982"/>
              <a:gd name="connsiteY41" fmla="*/ 265545 h 26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95982" h="265602">
                <a:moveTo>
                  <a:pt x="111552" y="0"/>
                </a:moveTo>
                <a:cubicBezTo>
                  <a:pt x="50445" y="0"/>
                  <a:pt x="908" y="49537"/>
                  <a:pt x="908" y="110643"/>
                </a:cubicBezTo>
                <a:cubicBezTo>
                  <a:pt x="908" y="127356"/>
                  <a:pt x="4621" y="143228"/>
                  <a:pt x="11274" y="157458"/>
                </a:cubicBezTo>
                <a:cubicBezTo>
                  <a:pt x="7527" y="172181"/>
                  <a:pt x="3340" y="188598"/>
                  <a:pt x="590" y="199374"/>
                </a:cubicBezTo>
                <a:cubicBezTo>
                  <a:pt x="-2848" y="212848"/>
                  <a:pt x="9285" y="225104"/>
                  <a:pt x="22774" y="221862"/>
                </a:cubicBezTo>
                <a:cubicBezTo>
                  <a:pt x="33841" y="219202"/>
                  <a:pt x="50851" y="215118"/>
                  <a:pt x="66009" y="211505"/>
                </a:cubicBezTo>
                <a:cubicBezTo>
                  <a:pt x="79911" y="217791"/>
                  <a:pt x="95336" y="221286"/>
                  <a:pt x="111552" y="221286"/>
                </a:cubicBezTo>
                <a:cubicBezTo>
                  <a:pt x="172658" y="221286"/>
                  <a:pt x="222195" y="171749"/>
                  <a:pt x="222195" y="110643"/>
                </a:cubicBezTo>
                <a:cubicBezTo>
                  <a:pt x="222195" y="49537"/>
                  <a:pt x="172658" y="0"/>
                  <a:pt x="111552" y="0"/>
                </a:cubicBezTo>
                <a:close/>
                <a:moveTo>
                  <a:pt x="23037" y="110643"/>
                </a:moveTo>
                <a:cubicBezTo>
                  <a:pt x="23037" y="61758"/>
                  <a:pt x="62666" y="22129"/>
                  <a:pt x="111552" y="22129"/>
                </a:cubicBezTo>
                <a:cubicBezTo>
                  <a:pt x="160437" y="22129"/>
                  <a:pt x="200066" y="61758"/>
                  <a:pt x="200066" y="110643"/>
                </a:cubicBezTo>
                <a:cubicBezTo>
                  <a:pt x="200066" y="159528"/>
                  <a:pt x="160437" y="199158"/>
                  <a:pt x="111552" y="199158"/>
                </a:cubicBezTo>
                <a:cubicBezTo>
                  <a:pt x="97378" y="199158"/>
                  <a:pt x="84013" y="195835"/>
                  <a:pt x="72163" y="189936"/>
                </a:cubicBezTo>
                <a:lnTo>
                  <a:pt x="68572" y="188148"/>
                </a:lnTo>
                <a:lnTo>
                  <a:pt x="64670" y="189077"/>
                </a:lnTo>
                <a:cubicBezTo>
                  <a:pt x="51057" y="192317"/>
                  <a:pt x="35330" y="196088"/>
                  <a:pt x="23544" y="198919"/>
                </a:cubicBezTo>
                <a:cubicBezTo>
                  <a:pt x="26476" y="187425"/>
                  <a:pt x="30358" y="172196"/>
                  <a:pt x="33724" y="158968"/>
                </a:cubicBezTo>
                <a:lnTo>
                  <a:pt x="34759" y="154897"/>
                </a:lnTo>
                <a:lnTo>
                  <a:pt x="32834" y="151165"/>
                </a:lnTo>
                <a:cubicBezTo>
                  <a:pt x="26576" y="139036"/>
                  <a:pt x="23037" y="125269"/>
                  <a:pt x="23037" y="110643"/>
                </a:cubicBezTo>
                <a:close/>
                <a:moveTo>
                  <a:pt x="185314" y="265545"/>
                </a:moveTo>
                <a:cubicBezTo>
                  <a:pt x="156261" y="265545"/>
                  <a:pt x="129823" y="254346"/>
                  <a:pt x="110081" y="236031"/>
                </a:cubicBezTo>
                <a:cubicBezTo>
                  <a:pt x="110571" y="236037"/>
                  <a:pt x="111061" y="236040"/>
                  <a:pt x="111552" y="236040"/>
                </a:cubicBezTo>
                <a:cubicBezTo>
                  <a:pt x="122144" y="236040"/>
                  <a:pt x="132429" y="234726"/>
                  <a:pt x="142253" y="232253"/>
                </a:cubicBezTo>
                <a:cubicBezTo>
                  <a:pt x="154999" y="239364"/>
                  <a:pt x="169684" y="243416"/>
                  <a:pt x="185314" y="243416"/>
                </a:cubicBezTo>
                <a:cubicBezTo>
                  <a:pt x="199487" y="243416"/>
                  <a:pt x="212852" y="240093"/>
                  <a:pt x="224703" y="234193"/>
                </a:cubicBezTo>
                <a:lnTo>
                  <a:pt x="228294" y="232405"/>
                </a:lnTo>
                <a:lnTo>
                  <a:pt x="232196" y="233335"/>
                </a:lnTo>
                <a:cubicBezTo>
                  <a:pt x="245791" y="236571"/>
                  <a:pt x="261186" y="239911"/>
                  <a:pt x="272606" y="242326"/>
                </a:cubicBezTo>
                <a:cubicBezTo>
                  <a:pt x="270024" y="231254"/>
                  <a:pt x="266502" y="216434"/>
                  <a:pt x="263142" y="203225"/>
                </a:cubicBezTo>
                <a:lnTo>
                  <a:pt x="262106" y="199156"/>
                </a:lnTo>
                <a:lnTo>
                  <a:pt x="264031" y="195424"/>
                </a:lnTo>
                <a:cubicBezTo>
                  <a:pt x="270289" y="183294"/>
                  <a:pt x="273828" y="169527"/>
                  <a:pt x="273828" y="154902"/>
                </a:cubicBezTo>
                <a:cubicBezTo>
                  <a:pt x="273828" y="123703"/>
                  <a:pt x="257689" y="96277"/>
                  <a:pt x="233304" y="80513"/>
                </a:cubicBezTo>
                <a:cubicBezTo>
                  <a:pt x="230673" y="69843"/>
                  <a:pt x="226675" y="59711"/>
                  <a:pt x="221508" y="50313"/>
                </a:cubicBezTo>
                <a:cubicBezTo>
                  <a:pt x="264840" y="65307"/>
                  <a:pt x="295957" y="106470"/>
                  <a:pt x="295957" y="154902"/>
                </a:cubicBezTo>
                <a:cubicBezTo>
                  <a:pt x="295957" y="171618"/>
                  <a:pt x="292242" y="187494"/>
                  <a:pt x="285586" y="201726"/>
                </a:cubicBezTo>
                <a:cubicBezTo>
                  <a:pt x="289320" y="216596"/>
                  <a:pt x="293100" y="232705"/>
                  <a:pt x="295497" y="243080"/>
                </a:cubicBezTo>
                <a:cubicBezTo>
                  <a:pt x="298512" y="256136"/>
                  <a:pt x="287014" y="267953"/>
                  <a:pt x="273849" y="265201"/>
                </a:cubicBezTo>
                <a:cubicBezTo>
                  <a:pt x="263121" y="262959"/>
                  <a:pt x="246267" y="259362"/>
                  <a:pt x="230868" y="255758"/>
                </a:cubicBezTo>
                <a:cubicBezTo>
                  <a:pt x="216964" y="262047"/>
                  <a:pt x="201534" y="265545"/>
                  <a:pt x="185314" y="265545"/>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Text Placeholder 2">
            <a:extLst>
              <a:ext uri="{FF2B5EF4-FFF2-40B4-BE49-F238E27FC236}">
                <a16:creationId xmlns:a16="http://schemas.microsoft.com/office/drawing/2014/main" id="{CBCAA3C6-D822-CC3B-5140-DE3F7E0071FE}"/>
              </a:ext>
            </a:extLst>
          </p:cNvPr>
          <p:cNvSpPr txBox="1">
            <a:spLocks/>
          </p:cNvSpPr>
          <p:nvPr/>
        </p:nvSpPr>
        <p:spPr>
          <a:xfrm>
            <a:off x="6954929"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it-it" sz="3600" b="0">
                <a:ln w="3175">
                  <a:noFill/>
                </a:ln>
                <a:gradFill flip="none" rotWithShape="1">
                  <a:gsLst>
                    <a:gs pos="14000">
                      <a:srgbClr val="94D8FE"/>
                    </a:gs>
                    <a:gs pos="100000">
                      <a:schemeClr val="bg1"/>
                    </a:gs>
                  </a:gsLst>
                  <a:lin ang="13500000" scaled="1"/>
                  <a:tileRect/>
                </a:gradFill>
                <a:latin typeface="Segoe Sans Display Semibold" pitchFamily="2" charset="0"/>
                <a:cs typeface="Segoe Sans Display Semibold" pitchFamily="2" charset="0"/>
              </a:rPr>
              <a:t>Dopo la presentazione</a:t>
            </a:r>
          </a:p>
        </p:txBody>
      </p:sp>
      <p:pic>
        <p:nvPicPr>
          <p:cNvPr id="14" name="Graphic 13">
            <a:extLst>
              <a:ext uri="{FF2B5EF4-FFF2-40B4-BE49-F238E27FC236}">
                <a16:creationId xmlns:a16="http://schemas.microsoft.com/office/drawing/2014/main" id="{2297191D-BE1F-6D52-1EC6-D0DE1E9A1554}"/>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854311" y="2644616"/>
            <a:ext cx="581184" cy="581184"/>
          </a:xfrm>
          <a:prstGeom prst="rect">
            <a:avLst/>
          </a:prstGeom>
        </p:spPr>
      </p:pic>
      <p:sp>
        <p:nvSpPr>
          <p:cNvPr id="15" name="TextBox 14">
            <a:extLst>
              <a:ext uri="{FF2B5EF4-FFF2-40B4-BE49-F238E27FC236}">
                <a16:creationId xmlns:a16="http://schemas.microsoft.com/office/drawing/2014/main" id="{4A284CF6-D14F-DF56-1331-5EA56741FEEB}"/>
              </a:ext>
            </a:extLst>
          </p:cNvPr>
          <p:cNvSpPr txBox="1"/>
          <p:nvPr/>
        </p:nvSpPr>
        <p:spPr>
          <a:xfrm>
            <a:off x="7579628" y="2649378"/>
            <a:ext cx="4114800" cy="6469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2000" b="0" i="0" u="none" strike="noStrike" kern="1200" cap="none" spc="0" normalizeH="0" noProof="0" dirty="0">
                <a:ln>
                  <a:noFill/>
                </a:ln>
                <a:solidFill>
                  <a:schemeClr val="bg1"/>
                </a:solidFill>
                <a:effectLst/>
                <a:uLnTx/>
                <a:uFillTx/>
                <a:ea typeface="+mn-ea"/>
                <a:cs typeface="Segoe UI Light" panose="020B0502040204020203" pitchFamily="34" charset="0"/>
              </a:rPr>
              <a:t>Alza la mano: ti daremo la parola per intervenire!</a:t>
            </a:r>
          </a:p>
        </p:txBody>
      </p:sp>
    </p:spTree>
    <p:extLst>
      <p:ext uri="{BB962C8B-B14F-4D97-AF65-F5344CB8AC3E}">
        <p14:creationId xmlns:p14="http://schemas.microsoft.com/office/powerpoint/2010/main" val="305632581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29F9FEAD-A6B6-504E-CFA2-B4BAD2C42276}"/>
              </a:ext>
            </a:extLst>
          </p:cNvPr>
          <p:cNvSpPr>
            <a:spLocks noGrp="1"/>
          </p:cNvSpPr>
          <p:nvPr>
            <p:ph idx="1"/>
          </p:nvPr>
        </p:nvSpPr>
        <p:spPr>
          <a:xfrm>
            <a:off x="5140787" y="1779709"/>
            <a:ext cx="7051211" cy="2985433"/>
          </a:xfrm>
        </p:spPr>
        <p:txBody>
          <a:bodyPr vert="horz" wrap="square" lIns="0" tIns="0" rIns="0" bIns="0" rtlCol="0" anchor="t">
            <a:spAutoFit/>
          </a:bodyPr>
          <a:lstStyle/>
          <a:p>
            <a:pPr marL="457200" indent="-457200">
              <a:spcBef>
                <a:spcPts val="600"/>
              </a:spcBef>
              <a:spcAft>
                <a:spcPts val="600"/>
              </a:spcAft>
              <a:buFont typeface="Arial" panose="020B0604020202020204" pitchFamily="34" charset="0"/>
              <a:buChar char="•"/>
            </a:pPr>
            <a:r>
              <a:rPr lang="it-it" sz="2400" dirty="0">
                <a:cs typeface="Segoe Sans Display"/>
              </a:rPr>
              <a:t>Agenti e percorsi di sviluppo</a:t>
            </a:r>
          </a:p>
          <a:p>
            <a:pPr marL="457200" indent="-457200">
              <a:spcBef>
                <a:spcPts val="600"/>
              </a:spcBef>
              <a:spcAft>
                <a:spcPts val="600"/>
              </a:spcAft>
              <a:buFont typeface="Arial" panose="020B0604020202020204" pitchFamily="34" charset="0"/>
              <a:buChar char="•"/>
            </a:pPr>
            <a:r>
              <a:rPr lang="it-IT" sz="2400" dirty="0">
                <a:cs typeface="Segoe Sans Display"/>
              </a:rPr>
              <a:t>Il valore degli agenti in azienda</a:t>
            </a:r>
          </a:p>
          <a:p>
            <a:pPr marL="457200" indent="-457200">
              <a:spcBef>
                <a:spcPts val="600"/>
              </a:spcBef>
              <a:spcAft>
                <a:spcPts val="600"/>
              </a:spcAft>
              <a:buFont typeface="Arial" panose="020B0604020202020204" pitchFamily="34" charset="0"/>
              <a:buChar char="•"/>
            </a:pPr>
            <a:r>
              <a:rPr lang="it-IT" sz="2400" dirty="0">
                <a:cs typeface="Segoe Sans Display"/>
              </a:rPr>
              <a:t>Come governare l’utilizzo degli agenti</a:t>
            </a:r>
            <a:endParaRPr lang="it-it" sz="2400" dirty="0">
              <a:cs typeface="Segoe Sans Display"/>
            </a:endParaRPr>
          </a:p>
          <a:p>
            <a:pPr marL="457200" indent="-457200">
              <a:spcBef>
                <a:spcPts val="600"/>
              </a:spcBef>
              <a:spcAft>
                <a:spcPts val="600"/>
              </a:spcAft>
              <a:buFont typeface="Arial" panose="020B0604020202020204" pitchFamily="34" charset="0"/>
              <a:buChar char="•"/>
            </a:pPr>
            <a:r>
              <a:rPr lang="it-it" sz="2400" dirty="0">
                <a:cs typeface="Segoe Sans Display"/>
              </a:rPr>
              <a:t>Materiali e formazione aggiuntiva</a:t>
            </a:r>
          </a:p>
          <a:p>
            <a:pPr marL="457200" indent="-457200">
              <a:spcBef>
                <a:spcPts val="600"/>
              </a:spcBef>
              <a:spcAft>
                <a:spcPts val="600"/>
              </a:spcAft>
              <a:buFont typeface="Arial" panose="020B0604020202020204" pitchFamily="34" charset="0"/>
              <a:buChar char="•"/>
            </a:pPr>
            <a:r>
              <a:rPr lang="it-it" sz="2400" dirty="0">
                <a:cs typeface="Segoe Sans Display"/>
              </a:rPr>
              <a:t>Risorse</a:t>
            </a:r>
          </a:p>
          <a:p>
            <a:pPr>
              <a:spcBef>
                <a:spcPts val="600"/>
              </a:spcBef>
              <a:spcAft>
                <a:spcPts val="600"/>
              </a:spcAft>
            </a:pPr>
            <a:endParaRPr lang="en-US" sz="2400" dirty="0">
              <a:cs typeface="Segoe Sans Display"/>
            </a:endParaRPr>
          </a:p>
        </p:txBody>
      </p:sp>
      <p:sp>
        <p:nvSpPr>
          <p:cNvPr id="9" name="Title 8">
            <a:extLst>
              <a:ext uri="{FF2B5EF4-FFF2-40B4-BE49-F238E27FC236}">
                <a16:creationId xmlns:a16="http://schemas.microsoft.com/office/drawing/2014/main" id="{4BA1EBAE-1D52-4D45-80BB-BA0E5E112711}"/>
              </a:ext>
            </a:extLst>
          </p:cNvPr>
          <p:cNvSpPr>
            <a:spLocks noGrp="1"/>
          </p:cNvSpPr>
          <p:nvPr>
            <p:ph type="title"/>
          </p:nvPr>
        </p:nvSpPr>
        <p:spPr>
          <a:xfrm>
            <a:off x="589279" y="605657"/>
            <a:ext cx="3515995" cy="1939850"/>
          </a:xfrm>
        </p:spPr>
        <p:txBody>
          <a:bodyPr/>
          <a:lstStyle/>
          <a:p>
            <a:r>
              <a:rPr lang="it-it" dirty="0"/>
              <a:t>Programma</a:t>
            </a:r>
          </a:p>
        </p:txBody>
      </p:sp>
      <p:cxnSp>
        <p:nvCxnSpPr>
          <p:cNvPr id="11" name="Straight Connector 10">
            <a:extLst>
              <a:ext uri="{FF2B5EF4-FFF2-40B4-BE49-F238E27FC236}">
                <a16:creationId xmlns:a16="http://schemas.microsoft.com/office/drawing/2014/main" id="{1ED95B53-DDF2-6191-A9CC-CC607C737C1E}"/>
              </a:ext>
              <a:ext uri="{C183D7F6-B498-43B3-948B-1728B52AA6E4}">
                <adec:decorative xmlns:adec="http://schemas.microsoft.com/office/drawing/2017/decorative" val="1"/>
              </a:ext>
            </a:extLst>
          </p:cNvPr>
          <p:cNvCxnSpPr>
            <a:cxnSpLocks/>
          </p:cNvCxnSpPr>
          <p:nvPr/>
        </p:nvCxnSpPr>
        <p:spPr>
          <a:xfrm>
            <a:off x="4889501" y="1543878"/>
            <a:ext cx="0" cy="3221264"/>
          </a:xfrm>
          <a:prstGeom prst="line">
            <a:avLst/>
          </a:prstGeom>
          <a:ln w="222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383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735EB-A140-C502-FB5E-014C6849EC42}"/>
              </a:ext>
            </a:extLst>
          </p:cNvPr>
          <p:cNvSpPr>
            <a:spLocks noGrp="1"/>
          </p:cNvSpPr>
          <p:nvPr>
            <p:ph type="title"/>
          </p:nvPr>
        </p:nvSpPr>
        <p:spPr>
          <a:xfrm>
            <a:off x="180561" y="2653647"/>
            <a:ext cx="8552622" cy="646331"/>
          </a:xfrm>
          <a:prstGeom prst="rect">
            <a:avLst/>
          </a:prstGeom>
        </p:spPr>
        <p:txBody>
          <a:bodyPr/>
          <a:lstStyle/>
          <a:p>
            <a:pPr lvl="0">
              <a:defRPr/>
            </a:pPr>
            <a:r>
              <a:rPr lang="it-IT" spc="-50" dirty="0">
                <a:ln w="3175">
                  <a:noFill/>
                </a:ln>
                <a:solidFill>
                  <a:schemeClr val="tx1"/>
                </a:solidFill>
                <a:latin typeface="Segoe Sans Display Semibold"/>
                <a:cs typeface="Segoe Sans Display Semibold"/>
              </a:rPr>
              <a:t>Agenti e percorsi di sviluppo</a:t>
            </a:r>
          </a:p>
        </p:txBody>
      </p:sp>
    </p:spTree>
    <p:extLst>
      <p:ext uri="{BB962C8B-B14F-4D97-AF65-F5344CB8AC3E}">
        <p14:creationId xmlns:p14="http://schemas.microsoft.com/office/powerpoint/2010/main" val="193459793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2386F5-C00F-8677-9DFE-3DD5C603D3D2}"/>
              </a:ext>
            </a:extLst>
          </p:cNvPr>
          <p:cNvSpPr>
            <a:spLocks noGrp="1"/>
          </p:cNvSpPr>
          <p:nvPr>
            <p:ph type="title"/>
          </p:nvPr>
        </p:nvSpPr>
        <p:spPr/>
        <p:txBody>
          <a:bodyPr/>
          <a:lstStyle/>
          <a:p>
            <a:r>
              <a:rPr lang="it-IT" dirty="0"/>
              <a:t>Dalla chat alla conversazione </a:t>
            </a:r>
            <a:r>
              <a:rPr lang="it-IT" dirty="0" err="1"/>
              <a:t>agentica</a:t>
            </a:r>
            <a:endParaRPr lang="en-GB" dirty="0"/>
          </a:p>
        </p:txBody>
      </p:sp>
      <p:sp>
        <p:nvSpPr>
          <p:cNvPr id="5" name="TextBox 4">
            <a:extLst>
              <a:ext uri="{FF2B5EF4-FFF2-40B4-BE49-F238E27FC236}">
                <a16:creationId xmlns:a16="http://schemas.microsoft.com/office/drawing/2014/main" id="{C8A748B5-2D8A-DB7D-D8F9-03072BD9E57E}"/>
              </a:ext>
            </a:extLst>
          </p:cNvPr>
          <p:cNvSpPr txBox="1"/>
          <p:nvPr/>
        </p:nvSpPr>
        <p:spPr>
          <a:xfrm>
            <a:off x="262270" y="1237646"/>
            <a:ext cx="11848909" cy="5070875"/>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Semibold"/>
              <a:ea typeface="+mn-ea"/>
              <a:cs typeface="Segoe UI" pitchFamily="34" charset="0"/>
            </a:endParaRPr>
          </a:p>
        </p:txBody>
      </p:sp>
      <p:sp>
        <p:nvSpPr>
          <p:cNvPr id="7" name="TextBox 6">
            <a:extLst>
              <a:ext uri="{FF2B5EF4-FFF2-40B4-BE49-F238E27FC236}">
                <a16:creationId xmlns:a16="http://schemas.microsoft.com/office/drawing/2014/main" id="{C8CA7779-3989-868D-26C3-61C60C22A0D2}"/>
              </a:ext>
            </a:extLst>
          </p:cNvPr>
          <p:cNvSpPr txBox="1"/>
          <p:nvPr/>
        </p:nvSpPr>
        <p:spPr>
          <a:xfrm>
            <a:off x="504056" y="1439537"/>
            <a:ext cx="11425674" cy="4924425"/>
          </a:xfrm>
          <a:prstGeom prst="rect">
            <a:avLst/>
          </a:prstGeom>
          <a:noFill/>
        </p:spPr>
        <p:txBody>
          <a:bodyPr wrap="square" lIns="0" tIns="0" rIns="0" bIns="0" rtlCol="0">
            <a:spAutoFit/>
          </a:bodyPr>
          <a:lstStyle/>
          <a:p>
            <a:pPr marL="342900" indent="-342900">
              <a:buFont typeface="Wingdings" panose="05000000000000000000" pitchFamily="2" charset="2"/>
              <a:buChar char="ü"/>
            </a:pPr>
            <a:r>
              <a:rPr lang="it-it" sz="2000" dirty="0"/>
              <a:t>Ogni giorno </a:t>
            </a:r>
            <a:r>
              <a:rPr lang="it-it" sz="2000" b="1" dirty="0"/>
              <a:t>ci affidiamo a Copilot e alla sua chat </a:t>
            </a:r>
            <a:r>
              <a:rPr lang="it-it" sz="2000" dirty="0"/>
              <a:t>come supporto versatile per le più diverse esigenze. Trattandosi però di uno </a:t>
            </a:r>
            <a:r>
              <a:rPr lang="it-it" sz="2000" b="1" dirty="0"/>
              <a:t>strumento a vocazione generalista</a:t>
            </a:r>
            <a:r>
              <a:rPr lang="it-it" sz="2000" dirty="0"/>
              <a:t>, la sua efficacia si riduce di fronte a compiti mirati o a domande legate a specifici </a:t>
            </a:r>
            <a:r>
              <a:rPr lang="it-IT" sz="2000" dirty="0"/>
              <a:t>processi aziendali.</a:t>
            </a:r>
            <a:endParaRPr lang="it-it" sz="2000" dirty="0"/>
          </a:p>
          <a:p>
            <a:endParaRPr lang="en-CA" sz="2000" dirty="0"/>
          </a:p>
          <a:p>
            <a:endParaRPr lang="en-CA" sz="2000" b="1" dirty="0"/>
          </a:p>
          <a:p>
            <a:pPr marL="342900" indent="-342900">
              <a:buFont typeface="Wingdings" panose="05000000000000000000" pitchFamily="2" charset="2"/>
              <a:buChar char="ü"/>
            </a:pPr>
            <a:r>
              <a:rPr lang="it-IT" sz="2000" dirty="0"/>
              <a:t>In questi contesti, emerge l’esigenza di affiancarsi a un </a:t>
            </a:r>
            <a:r>
              <a:rPr lang="it-IT" sz="2000" b="1" dirty="0"/>
              <a:t>assistente specializzato</a:t>
            </a:r>
            <a:r>
              <a:rPr lang="it-IT" sz="2000" dirty="0"/>
              <a:t>, in grado di comprendere rapidamente le necessità, interpretare il contesto di riferimento e fornire un supporto mirato, efficace e ad alto valore.</a:t>
            </a:r>
            <a:endParaRPr lang="en-CA" sz="2000" dirty="0"/>
          </a:p>
          <a:p>
            <a:endParaRPr lang="en-CA" sz="2000" b="1" dirty="0"/>
          </a:p>
          <a:p>
            <a:pPr marL="342900" indent="-342900">
              <a:buFont typeface="Wingdings" panose="05000000000000000000" pitchFamily="2" charset="2"/>
              <a:buChar char="ü"/>
            </a:pPr>
            <a:r>
              <a:rPr lang="it-IT" sz="2000" dirty="0"/>
              <a:t>Questa esigenza è già stata vissuta in passato, in occasione del passaggio dai software tradizionali dei nostri smartphone al </a:t>
            </a:r>
            <a:r>
              <a:rPr lang="it-IT" sz="2000" b="1" dirty="0"/>
              <a:t>modello basato sulle app</a:t>
            </a:r>
            <a:r>
              <a:rPr lang="it-IT" sz="2000" dirty="0"/>
              <a:t>, segnando un’evoluzione verso strumenti più specifici e orientati al contesto:</a:t>
            </a:r>
          </a:p>
          <a:p>
            <a:pPr marL="342900" indent="-342900">
              <a:buFont typeface="Wingdings" panose="05000000000000000000" pitchFamily="2" charset="2"/>
              <a:buChar char="ü"/>
            </a:pPr>
            <a:endParaRPr lang="it-IT" sz="2000" dirty="0"/>
          </a:p>
          <a:p>
            <a:pPr algn="ctr"/>
            <a:r>
              <a:rPr lang="it-IT" sz="2000" dirty="0"/>
              <a:t>«</a:t>
            </a:r>
            <a:r>
              <a:rPr lang="it-IT" sz="2000" i="1" dirty="0"/>
              <a:t>pensate a Copilot come al vostro smartphone e agli agenti come alle sue app… In sostanza, </a:t>
            </a:r>
            <a:r>
              <a:rPr lang="it-IT" sz="2000" b="1" i="1" dirty="0"/>
              <a:t>gli agenti sono le nuove app per un mondo basato sull’IA</a:t>
            </a:r>
            <a:r>
              <a:rPr lang="it-IT" sz="2000" dirty="0"/>
              <a:t>.»</a:t>
            </a:r>
            <a:endParaRPr lang="it-it" sz="2000" dirty="0"/>
          </a:p>
          <a:p>
            <a:pPr algn="l"/>
            <a:endParaRPr lang="en-CA" sz="2000" dirty="0"/>
          </a:p>
        </p:txBody>
      </p:sp>
      <p:sp>
        <p:nvSpPr>
          <p:cNvPr id="9" name="Oval 8">
            <a:extLst>
              <a:ext uri="{FF2B5EF4-FFF2-40B4-BE49-F238E27FC236}">
                <a16:creationId xmlns:a16="http://schemas.microsoft.com/office/drawing/2014/main" id="{EE215CC0-DE97-FFEA-BF44-986CDB1B42FE}"/>
              </a:ext>
            </a:extLst>
          </p:cNvPr>
          <p:cNvSpPr>
            <a:spLocks noChangeAspect="1"/>
          </p:cNvSpPr>
          <p:nvPr/>
        </p:nvSpPr>
        <p:spPr bwMode="auto">
          <a:xfrm>
            <a:off x="379830" y="1392180"/>
            <a:ext cx="416866" cy="416866"/>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endParaRPr>
          </a:p>
        </p:txBody>
      </p:sp>
      <p:sp>
        <p:nvSpPr>
          <p:cNvPr id="11" name="Oval 10">
            <a:extLst>
              <a:ext uri="{FF2B5EF4-FFF2-40B4-BE49-F238E27FC236}">
                <a16:creationId xmlns:a16="http://schemas.microsoft.com/office/drawing/2014/main" id="{D99ED639-3467-949A-EE78-C45633690B50}"/>
              </a:ext>
            </a:extLst>
          </p:cNvPr>
          <p:cNvSpPr>
            <a:spLocks noChangeAspect="1"/>
          </p:cNvSpPr>
          <p:nvPr/>
        </p:nvSpPr>
        <p:spPr bwMode="auto">
          <a:xfrm>
            <a:off x="379830" y="2936058"/>
            <a:ext cx="416866" cy="416866"/>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endParaRPr>
          </a:p>
        </p:txBody>
      </p:sp>
      <p:sp>
        <p:nvSpPr>
          <p:cNvPr id="13" name="Oval 12">
            <a:extLst>
              <a:ext uri="{FF2B5EF4-FFF2-40B4-BE49-F238E27FC236}">
                <a16:creationId xmlns:a16="http://schemas.microsoft.com/office/drawing/2014/main" id="{27619589-0C8A-D11D-D549-929AF51F4CE6}"/>
              </a:ext>
            </a:extLst>
          </p:cNvPr>
          <p:cNvSpPr>
            <a:spLocks noChangeAspect="1"/>
          </p:cNvSpPr>
          <p:nvPr/>
        </p:nvSpPr>
        <p:spPr bwMode="auto">
          <a:xfrm>
            <a:off x="379830" y="4133861"/>
            <a:ext cx="416866" cy="416866"/>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endParaRPr>
          </a:p>
        </p:txBody>
      </p:sp>
    </p:spTree>
    <p:extLst>
      <p:ext uri="{BB962C8B-B14F-4D97-AF65-F5344CB8AC3E}">
        <p14:creationId xmlns:p14="http://schemas.microsoft.com/office/powerpoint/2010/main" val="376680970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AE228-92C4-2EAF-90EB-2C9ACDEE3D39}"/>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8A4E7CB3-C9F7-C0D8-F285-E6C6BDE06C04}"/>
              </a:ext>
              <a:ext uri="{C183D7F6-B498-43B3-948B-1728B52AA6E4}">
                <adec:decorative xmlns:adec="http://schemas.microsoft.com/office/drawing/2017/decorative" val="1"/>
              </a:ext>
            </a:extLst>
          </p:cNvPr>
          <p:cNvSpPr/>
          <p:nvPr/>
        </p:nvSpPr>
        <p:spPr bwMode="auto">
          <a:xfrm>
            <a:off x="274320" y="1298448"/>
            <a:ext cx="11643360" cy="5138928"/>
          </a:xfrm>
          <a:prstGeom prst="roundRect">
            <a:avLst>
              <a:gd name="adj" fmla="val 5361"/>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a:endParaRPr>
          </a:p>
        </p:txBody>
      </p:sp>
      <p:grpSp>
        <p:nvGrpSpPr>
          <p:cNvPr id="40" name="Group 39">
            <a:extLst>
              <a:ext uri="{FF2B5EF4-FFF2-40B4-BE49-F238E27FC236}">
                <a16:creationId xmlns:a16="http://schemas.microsoft.com/office/drawing/2014/main" id="{4EDCFE61-DD57-6614-4E95-46EA1E1871E8}"/>
              </a:ext>
              <a:ext uri="{C183D7F6-B498-43B3-948B-1728B52AA6E4}">
                <adec:decorative xmlns:adec="http://schemas.microsoft.com/office/drawing/2017/decorative" val="1"/>
              </a:ext>
            </a:extLst>
          </p:cNvPr>
          <p:cNvGrpSpPr>
            <a:grpSpLocks/>
          </p:cNvGrpSpPr>
          <p:nvPr/>
        </p:nvGrpSpPr>
        <p:grpSpPr>
          <a:xfrm flipH="1">
            <a:off x="673479" y="5577208"/>
            <a:ext cx="365760" cy="365760"/>
            <a:chOff x="11191361" y="-22002"/>
            <a:chExt cx="365760" cy="365760"/>
          </a:xfrm>
        </p:grpSpPr>
        <p:sp>
          <p:nvSpPr>
            <p:cNvPr id="41" name="Freeform: Shape 115">
              <a:extLst>
                <a:ext uri="{FF2B5EF4-FFF2-40B4-BE49-F238E27FC236}">
                  <a16:creationId xmlns:a16="http://schemas.microsoft.com/office/drawing/2014/main" id="{C60506F6-E9DA-72C9-7768-471835318EEB}"/>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2" name="Graphic 16">
              <a:extLst>
                <a:ext uri="{FF2B5EF4-FFF2-40B4-BE49-F238E27FC236}">
                  <a16:creationId xmlns:a16="http://schemas.microsoft.com/office/drawing/2014/main" id="{746832EB-F287-D5DD-CE16-8C6CB4FDB0C5}"/>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grpSp>
        <p:nvGrpSpPr>
          <p:cNvPr id="43" name="Group 42">
            <a:extLst>
              <a:ext uri="{FF2B5EF4-FFF2-40B4-BE49-F238E27FC236}">
                <a16:creationId xmlns:a16="http://schemas.microsoft.com/office/drawing/2014/main" id="{351AE8FE-4EFC-B6A9-9CE0-224F86323523}"/>
              </a:ext>
              <a:ext uri="{C183D7F6-B498-43B3-948B-1728B52AA6E4}">
                <adec:decorative xmlns:adec="http://schemas.microsoft.com/office/drawing/2017/decorative" val="1"/>
              </a:ext>
            </a:extLst>
          </p:cNvPr>
          <p:cNvGrpSpPr>
            <a:grpSpLocks/>
          </p:cNvGrpSpPr>
          <p:nvPr/>
        </p:nvGrpSpPr>
        <p:grpSpPr>
          <a:xfrm>
            <a:off x="11193473" y="5577208"/>
            <a:ext cx="365760" cy="365760"/>
            <a:chOff x="11191361" y="-22002"/>
            <a:chExt cx="365760" cy="365760"/>
          </a:xfrm>
        </p:grpSpPr>
        <p:sp>
          <p:nvSpPr>
            <p:cNvPr id="44" name="Freeform: Shape 115">
              <a:extLst>
                <a:ext uri="{FF2B5EF4-FFF2-40B4-BE49-F238E27FC236}">
                  <a16:creationId xmlns:a16="http://schemas.microsoft.com/office/drawing/2014/main" id="{74C1E3FF-FC18-D8BB-806F-71F0312DC48E}"/>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5" name="Graphic 16">
              <a:extLst>
                <a:ext uri="{FF2B5EF4-FFF2-40B4-BE49-F238E27FC236}">
                  <a16:creationId xmlns:a16="http://schemas.microsoft.com/office/drawing/2014/main" id="{B9B867F5-FF61-B679-03AA-EDFF3FE83CE6}"/>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sp>
        <p:nvSpPr>
          <p:cNvPr id="5" name="Rectangle 4">
            <a:extLst>
              <a:ext uri="{FF2B5EF4-FFF2-40B4-BE49-F238E27FC236}">
                <a16:creationId xmlns:a16="http://schemas.microsoft.com/office/drawing/2014/main" id="{116838D0-C29A-1989-4EA5-5006E5420C9E}"/>
              </a:ext>
              <a:ext uri="{C183D7F6-B498-43B3-948B-1728B52AA6E4}">
                <adec:decorative xmlns:adec="http://schemas.microsoft.com/office/drawing/2017/decorative" val="1"/>
              </a:ext>
            </a:extLst>
          </p:cNvPr>
          <p:cNvSpPr/>
          <p:nvPr/>
        </p:nvSpPr>
        <p:spPr bwMode="auto">
          <a:xfrm>
            <a:off x="7771603" y="1636776"/>
            <a:ext cx="2307010" cy="1059821"/>
          </a:xfrm>
          <a:prstGeom prst="rect">
            <a:avLst/>
          </a:prstGeom>
          <a:solidFill>
            <a:srgbClr val="D1EA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482E0177-ABC0-E842-2621-9FD6C9422565}"/>
              </a:ext>
              <a:ext uri="{C183D7F6-B498-43B3-948B-1728B52AA6E4}">
                <adec:decorative xmlns:adec="http://schemas.microsoft.com/office/drawing/2017/decorative" val="1"/>
              </a:ext>
            </a:extLst>
          </p:cNvPr>
          <p:cNvSpPr/>
          <p:nvPr/>
        </p:nvSpPr>
        <p:spPr bwMode="auto">
          <a:xfrm>
            <a:off x="4941790" y="1876093"/>
            <a:ext cx="2308421" cy="903598"/>
          </a:xfrm>
          <a:prstGeom prst="rect">
            <a:avLst/>
          </a:prstGeom>
          <a:solidFill>
            <a:srgbClr val="D3D3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E355CD80-0ED9-079F-2B5B-433EEACEA119}"/>
              </a:ext>
              <a:ext uri="{C183D7F6-B498-43B3-948B-1728B52AA6E4}">
                <adec:decorative xmlns:adec="http://schemas.microsoft.com/office/drawing/2017/decorative" val="1"/>
              </a:ext>
            </a:extLst>
          </p:cNvPr>
          <p:cNvSpPr/>
          <p:nvPr/>
        </p:nvSpPr>
        <p:spPr bwMode="auto">
          <a:xfrm>
            <a:off x="2112320" y="2141793"/>
            <a:ext cx="2308421" cy="844807"/>
          </a:xfrm>
          <a:prstGeom prst="rect">
            <a:avLst/>
          </a:prstGeom>
          <a:solidFill>
            <a:srgbClr val="F2CAE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86F13CAA-8F60-F747-AE80-5624B42EE3EB}"/>
              </a:ext>
              <a:ext uri="{C183D7F6-B498-43B3-948B-1728B52AA6E4}">
                <adec:decorative xmlns:adec="http://schemas.microsoft.com/office/drawing/2017/decorative" val="1"/>
              </a:ext>
            </a:extLst>
          </p:cNvPr>
          <p:cNvSpPr/>
          <p:nvPr/>
        </p:nvSpPr>
        <p:spPr bwMode="auto">
          <a:xfrm>
            <a:off x="2112149" y="2696598"/>
            <a:ext cx="2308421" cy="2524625"/>
          </a:xfrm>
          <a:prstGeom prst="roundRect">
            <a:avLst>
              <a:gd name="adj" fmla="val 9338"/>
            </a:avLst>
          </a:prstGeom>
          <a:solidFill>
            <a:srgbClr val="F5D7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652D2FE4-C7D9-D560-CF6F-5F7976848A6F}"/>
              </a:ext>
              <a:ext uri="{C183D7F6-B498-43B3-948B-1728B52AA6E4}">
                <adec:decorative xmlns:adec="http://schemas.microsoft.com/office/drawing/2017/decorative" val="1"/>
              </a:ext>
            </a:extLst>
          </p:cNvPr>
          <p:cNvSpPr/>
          <p:nvPr/>
        </p:nvSpPr>
        <p:spPr bwMode="auto">
          <a:xfrm>
            <a:off x="7771603" y="2696598"/>
            <a:ext cx="2307010" cy="2524625"/>
          </a:xfrm>
          <a:prstGeom prst="roundRect">
            <a:avLst>
              <a:gd name="adj" fmla="val 9338"/>
            </a:avLst>
          </a:prstGeom>
          <a:solidFill>
            <a:srgbClr val="D1EA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F021AC98-F26A-8540-29FC-AEECDEF6E70C}"/>
              </a:ext>
              <a:ext uri="{C183D7F6-B498-43B3-948B-1728B52AA6E4}">
                <adec:decorative xmlns:adec="http://schemas.microsoft.com/office/drawing/2017/decorative" val="1"/>
              </a:ext>
            </a:extLst>
          </p:cNvPr>
          <p:cNvSpPr/>
          <p:nvPr/>
        </p:nvSpPr>
        <p:spPr bwMode="auto">
          <a:xfrm>
            <a:off x="4941790" y="2696598"/>
            <a:ext cx="2308421" cy="2524625"/>
          </a:xfrm>
          <a:prstGeom prst="roundRect">
            <a:avLst>
              <a:gd name="adj" fmla="val 9338"/>
            </a:avLst>
          </a:prstGeom>
          <a:solidFill>
            <a:srgbClr val="D3D3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2F2A2643-F116-FEFE-CFDC-ACAE1CBD3475}"/>
              </a:ext>
              <a:ext uri="{C183D7F6-B498-43B3-948B-1728B52AA6E4}">
                <adec:decorative xmlns:adec="http://schemas.microsoft.com/office/drawing/2017/decorative" val="1"/>
              </a:ext>
            </a:extLst>
          </p:cNvPr>
          <p:cNvSpPr/>
          <p:nvPr/>
        </p:nvSpPr>
        <p:spPr bwMode="auto">
          <a:xfrm>
            <a:off x="575220" y="2513989"/>
            <a:ext cx="11049399" cy="52322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grpSp>
        <p:nvGrpSpPr>
          <p:cNvPr id="26" name="Group 25">
            <a:extLst>
              <a:ext uri="{FF2B5EF4-FFF2-40B4-BE49-F238E27FC236}">
                <a16:creationId xmlns:a16="http://schemas.microsoft.com/office/drawing/2014/main" id="{4DA26348-EAA8-7022-3A41-91E35510E5C4}"/>
              </a:ext>
              <a:ext uri="{C183D7F6-B498-43B3-948B-1728B52AA6E4}">
                <adec:decorative xmlns:adec="http://schemas.microsoft.com/office/drawing/2017/decorative" val="1"/>
              </a:ext>
            </a:extLst>
          </p:cNvPr>
          <p:cNvGrpSpPr/>
          <p:nvPr/>
        </p:nvGrpSpPr>
        <p:grpSpPr>
          <a:xfrm>
            <a:off x="2770858" y="2279928"/>
            <a:ext cx="991344" cy="991341"/>
            <a:chOff x="3031090" y="2734209"/>
            <a:chExt cx="752625" cy="752623"/>
          </a:xfrm>
        </p:grpSpPr>
        <p:sp>
          <p:nvSpPr>
            <p:cNvPr id="28" name="Oval 27">
              <a:extLst>
                <a:ext uri="{FF2B5EF4-FFF2-40B4-BE49-F238E27FC236}">
                  <a16:creationId xmlns:a16="http://schemas.microsoft.com/office/drawing/2014/main" id="{5F7917AA-CC3B-0CB0-6057-BBBA10E8BE0A}"/>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1CE675DA-C55B-65BD-6E8B-4A3040BDD6A5}"/>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27" name="Graphic 26">
            <a:extLst>
              <a:ext uri="{FF2B5EF4-FFF2-40B4-BE49-F238E27FC236}">
                <a16:creationId xmlns:a16="http://schemas.microsoft.com/office/drawing/2014/main" id="{9E07A596-A040-8C1F-F634-FBA6E51C616F}"/>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970587" y="2486302"/>
            <a:ext cx="591887" cy="591887"/>
          </a:xfrm>
          <a:prstGeom prst="rect">
            <a:avLst/>
          </a:prstGeom>
        </p:spPr>
      </p:pic>
      <p:grpSp>
        <p:nvGrpSpPr>
          <p:cNvPr id="22" name="Group 21">
            <a:extLst>
              <a:ext uri="{FF2B5EF4-FFF2-40B4-BE49-F238E27FC236}">
                <a16:creationId xmlns:a16="http://schemas.microsoft.com/office/drawing/2014/main" id="{AD9112D0-ECC0-FDAC-5D0E-B4C5893078F9}"/>
              </a:ext>
              <a:ext uri="{C183D7F6-B498-43B3-948B-1728B52AA6E4}">
                <adec:decorative xmlns:adec="http://schemas.microsoft.com/office/drawing/2017/decorative" val="1"/>
              </a:ext>
            </a:extLst>
          </p:cNvPr>
          <p:cNvGrpSpPr/>
          <p:nvPr/>
        </p:nvGrpSpPr>
        <p:grpSpPr>
          <a:xfrm>
            <a:off x="5600328" y="2265204"/>
            <a:ext cx="991344" cy="991341"/>
            <a:chOff x="3031090" y="2734209"/>
            <a:chExt cx="752625" cy="752623"/>
          </a:xfrm>
        </p:grpSpPr>
        <p:sp>
          <p:nvSpPr>
            <p:cNvPr id="24" name="Oval 23">
              <a:extLst>
                <a:ext uri="{FF2B5EF4-FFF2-40B4-BE49-F238E27FC236}">
                  <a16:creationId xmlns:a16="http://schemas.microsoft.com/office/drawing/2014/main" id="{02CCB3C1-AE17-FCD8-BC09-59367A4A604F}"/>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0D92DCBA-8AD7-2957-DA94-ABBB9B317FC0}"/>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23" name="Graphic 22">
            <a:extLst>
              <a:ext uri="{FF2B5EF4-FFF2-40B4-BE49-F238E27FC236}">
                <a16:creationId xmlns:a16="http://schemas.microsoft.com/office/drawing/2014/main" id="{BEA0EA0D-2C9B-E3E7-8FB5-BE470F6CED78}"/>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819963" y="2477098"/>
            <a:ext cx="552075" cy="552075"/>
          </a:xfrm>
          <a:prstGeom prst="rect">
            <a:avLst/>
          </a:prstGeom>
        </p:spPr>
      </p:pic>
      <p:grpSp>
        <p:nvGrpSpPr>
          <p:cNvPr id="18" name="Group 17">
            <a:extLst>
              <a:ext uri="{FF2B5EF4-FFF2-40B4-BE49-F238E27FC236}">
                <a16:creationId xmlns:a16="http://schemas.microsoft.com/office/drawing/2014/main" id="{5345BADF-85DA-07A8-BC7D-69196DF6265F}"/>
              </a:ext>
              <a:ext uri="{C183D7F6-B498-43B3-948B-1728B52AA6E4}">
                <adec:decorative xmlns:adec="http://schemas.microsoft.com/office/drawing/2017/decorative" val="1"/>
              </a:ext>
            </a:extLst>
          </p:cNvPr>
          <p:cNvGrpSpPr/>
          <p:nvPr/>
        </p:nvGrpSpPr>
        <p:grpSpPr>
          <a:xfrm>
            <a:off x="8429436" y="2264392"/>
            <a:ext cx="991344" cy="991341"/>
            <a:chOff x="3031090" y="2734209"/>
            <a:chExt cx="752625" cy="752623"/>
          </a:xfrm>
        </p:grpSpPr>
        <p:sp>
          <p:nvSpPr>
            <p:cNvPr id="20" name="Oval 19">
              <a:extLst>
                <a:ext uri="{FF2B5EF4-FFF2-40B4-BE49-F238E27FC236}">
                  <a16:creationId xmlns:a16="http://schemas.microsoft.com/office/drawing/2014/main" id="{A20F03FE-698A-2798-ECC8-C2441B103678}"/>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3BD43529-5B22-E69C-C829-107E70031CE8}"/>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19" name="Graphic 18">
            <a:extLst>
              <a:ext uri="{FF2B5EF4-FFF2-40B4-BE49-F238E27FC236}">
                <a16:creationId xmlns:a16="http://schemas.microsoft.com/office/drawing/2014/main" id="{C716BC73-BE79-73C2-23D4-3C5D5B017E4E}"/>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650260" y="2473360"/>
            <a:ext cx="549697" cy="549697"/>
          </a:xfrm>
          <a:prstGeom prst="rect">
            <a:avLst/>
          </a:prstGeom>
        </p:spPr>
      </p:pic>
      <p:sp>
        <p:nvSpPr>
          <p:cNvPr id="15" name="TextBox 14">
            <a:extLst>
              <a:ext uri="{FF2B5EF4-FFF2-40B4-BE49-F238E27FC236}">
                <a16:creationId xmlns:a16="http://schemas.microsoft.com/office/drawing/2014/main" id="{C37AAB58-32C3-AE0E-EE8D-36A02292B2BB}"/>
              </a:ext>
            </a:extLst>
          </p:cNvPr>
          <p:cNvSpPr txBox="1"/>
          <p:nvPr/>
        </p:nvSpPr>
        <p:spPr>
          <a:xfrm>
            <a:off x="775462" y="2671976"/>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Semibold"/>
                <a:ea typeface="+mn-ea"/>
                <a:cs typeface="+mn-cs"/>
              </a:rPr>
              <a:t>Individuale</a:t>
            </a:r>
            <a:endParaRPr kumimoji="0" lang="en-US" sz="1400" b="0" i="0" u="none" strike="noStrike" kern="1200" cap="none" spc="0" normalizeH="0" baseline="0" noProof="0" dirty="0">
              <a:ln>
                <a:noFill/>
              </a:ln>
              <a:solidFill>
                <a:srgbClr val="FFFFFF"/>
              </a:solidFill>
              <a:effectLst/>
              <a:uLnTx/>
              <a:uFillTx/>
              <a:latin typeface="Segoe UI Semibold"/>
              <a:ea typeface="+mn-ea"/>
              <a:cs typeface="Segoe UI Semibold"/>
            </a:endParaRPr>
          </a:p>
        </p:txBody>
      </p:sp>
      <p:sp>
        <p:nvSpPr>
          <p:cNvPr id="16" name="TextBox 15">
            <a:extLst>
              <a:ext uri="{FF2B5EF4-FFF2-40B4-BE49-F238E27FC236}">
                <a16:creationId xmlns:a16="http://schemas.microsoft.com/office/drawing/2014/main" id="{CD0F1DFE-3F23-D03E-B2C9-B578A3136531}"/>
              </a:ext>
            </a:extLst>
          </p:cNvPr>
          <p:cNvSpPr txBox="1"/>
          <p:nvPr/>
        </p:nvSpPr>
        <p:spPr>
          <a:xfrm>
            <a:off x="9980375" y="2671976"/>
            <a:ext cx="1431935"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Semibold"/>
                <a:ea typeface="+mn-ea"/>
                <a:cs typeface="+mn-cs"/>
              </a:rPr>
              <a:t>Organizzazione</a:t>
            </a:r>
            <a:endParaRPr kumimoji="0" lang="en-US" sz="1400" b="0" i="0" u="none" strike="noStrike" kern="1200" cap="none" spc="0" normalizeH="0" baseline="0" noProof="0" dirty="0">
              <a:ln>
                <a:noFill/>
              </a:ln>
              <a:solidFill>
                <a:srgbClr val="FFFFFF"/>
              </a:solidFill>
              <a:effectLst/>
              <a:uLnTx/>
              <a:uFillTx/>
              <a:latin typeface="Segoe UI Semibold"/>
              <a:ea typeface="+mn-ea"/>
              <a:cs typeface="Segoe UI Semibold"/>
            </a:endParaRPr>
          </a:p>
        </p:txBody>
      </p:sp>
      <p:sp>
        <p:nvSpPr>
          <p:cNvPr id="30" name="TextBox 29">
            <a:extLst>
              <a:ext uri="{FF2B5EF4-FFF2-40B4-BE49-F238E27FC236}">
                <a16:creationId xmlns:a16="http://schemas.microsoft.com/office/drawing/2014/main" id="{D1816D28-8EB1-0F0C-7279-34A6BD18B401}"/>
              </a:ext>
            </a:extLst>
          </p:cNvPr>
          <p:cNvSpPr txBox="1"/>
          <p:nvPr/>
        </p:nvSpPr>
        <p:spPr>
          <a:xfrm>
            <a:off x="2190182" y="3407999"/>
            <a:ext cx="2072092" cy="36933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D043A0"/>
                </a:solidFill>
                <a:effectLst/>
                <a:uLnTx/>
                <a:uFillTx/>
                <a:latin typeface="Segoe UI Semibold"/>
                <a:ea typeface="+mn-ea"/>
                <a:cs typeface="Segoe UI Semibold"/>
              </a:rPr>
              <a:t>Utente</a:t>
            </a:r>
            <a:endParaRPr kumimoji="0" lang="en-US" sz="1800" b="0" i="0" u="none" strike="noStrike" kern="1200" cap="none" spc="0" normalizeH="0" baseline="0" noProof="0" dirty="0">
              <a:ln>
                <a:noFill/>
              </a:ln>
              <a:solidFill>
                <a:srgbClr val="D043A0"/>
              </a:solidFill>
              <a:effectLst/>
              <a:uLnTx/>
              <a:uFillTx/>
              <a:latin typeface="Segoe UI Semibold"/>
              <a:ea typeface="+mn-ea"/>
              <a:cs typeface="Segoe UI Semibold"/>
            </a:endParaRPr>
          </a:p>
        </p:txBody>
      </p:sp>
      <p:pic>
        <p:nvPicPr>
          <p:cNvPr id="14" name="Picture 2" descr="M365 copilot logo">
            <a:extLst>
              <a:ext uri="{FF2B5EF4-FFF2-40B4-BE49-F238E27FC236}">
                <a16:creationId xmlns:a16="http://schemas.microsoft.com/office/drawing/2014/main" id="{DA5A5546-802C-7245-BBF6-D6544A5241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68800" y="3940200"/>
            <a:ext cx="389614" cy="36576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5 Sharepoint Icons - Free in SVG, PNG, ICO - IconScout">
            <a:extLst>
              <a:ext uri="{FF2B5EF4-FFF2-40B4-BE49-F238E27FC236}">
                <a16:creationId xmlns:a16="http://schemas.microsoft.com/office/drawing/2014/main" id="{E3337D70-C613-B450-6C39-85AA5CD7CE5B}"/>
              </a:ext>
            </a:extLst>
          </p:cNvPr>
          <p:cNvPicPr>
            <a:picLocks noChangeAspect="1"/>
          </p:cNvPicPr>
          <p:nvPr/>
        </p:nvPicPr>
        <p:blipFill>
          <a:blip r:embed="rId7"/>
          <a:stretch>
            <a:fillRect/>
          </a:stretch>
        </p:blipFill>
        <p:spPr>
          <a:xfrm>
            <a:off x="3385071" y="3942221"/>
            <a:ext cx="371475" cy="371475"/>
          </a:xfrm>
          <a:prstGeom prst="rect">
            <a:avLst/>
          </a:prstGeom>
        </p:spPr>
      </p:pic>
      <p:sp>
        <p:nvSpPr>
          <p:cNvPr id="66" name="TextBox 65">
            <a:extLst>
              <a:ext uri="{FF2B5EF4-FFF2-40B4-BE49-F238E27FC236}">
                <a16:creationId xmlns:a16="http://schemas.microsoft.com/office/drawing/2014/main" id="{DB660241-47D2-EA63-B7B9-958DFB6B6386}"/>
              </a:ext>
            </a:extLst>
          </p:cNvPr>
          <p:cNvSpPr txBox="1">
            <a:spLocks/>
          </p:cNvSpPr>
          <p:nvPr/>
        </p:nvSpPr>
        <p:spPr>
          <a:xfrm>
            <a:off x="2163303" y="4479788"/>
            <a:ext cx="2206113" cy="677108"/>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Segoe UI"/>
                <a:ea typeface="+mn-ea"/>
                <a:cs typeface="Segoe UI"/>
              </a:rPr>
              <a:t>Gli</a:t>
            </a:r>
            <a:r>
              <a:rPr kumimoji="0" lang="en-US" sz="1100" b="0" i="0" u="none" strike="noStrike" kern="1200" cap="none" spc="0" normalizeH="0" baseline="0" noProof="0" dirty="0">
                <a:ln>
                  <a:noFill/>
                </a:ln>
                <a:solidFill>
                  <a:srgbClr val="000000"/>
                </a:solidFill>
                <a:effectLst/>
                <a:uLnTx/>
                <a:uFillTx/>
                <a:latin typeface="Segoe UI"/>
                <a:ea typeface="+mn-ea"/>
                <a:cs typeface="Segoe UI"/>
              </a:rPr>
              <a:t> </a:t>
            </a:r>
            <a:r>
              <a:rPr kumimoji="0" lang="en-US" sz="1100" b="0" i="0" u="none" strike="noStrike" kern="1200" cap="none" spc="0" normalizeH="0" baseline="0" noProof="0" dirty="0" err="1">
                <a:ln>
                  <a:noFill/>
                </a:ln>
                <a:solidFill>
                  <a:srgbClr val="000000"/>
                </a:solidFill>
                <a:effectLst/>
                <a:uLnTx/>
                <a:uFillTx/>
                <a:latin typeface="Segoe UI"/>
                <a:ea typeface="+mn-ea"/>
                <a:cs typeface="Segoe UI"/>
              </a:rPr>
              <a:t>utenti</a:t>
            </a:r>
            <a:r>
              <a:rPr kumimoji="0" lang="en-US" sz="1100" b="0" i="0" u="none" strike="noStrike" kern="1200" cap="none" spc="0" normalizeH="0" baseline="0" noProof="0" dirty="0">
                <a:ln>
                  <a:noFill/>
                </a:ln>
                <a:solidFill>
                  <a:srgbClr val="000000"/>
                </a:solidFill>
                <a:effectLst/>
                <a:uLnTx/>
                <a:uFillTx/>
                <a:latin typeface="Segoe UI"/>
                <a:ea typeface="+mn-ea"/>
                <a:cs typeface="Segoe UI"/>
              </a:rPr>
              <a:t> </a:t>
            </a:r>
            <a:r>
              <a:rPr kumimoji="0" lang="en-US" sz="1100" b="0" i="0" u="none" strike="noStrike" kern="1200" cap="none" spc="0" normalizeH="0" baseline="0" noProof="0" dirty="0" err="1">
                <a:ln>
                  <a:noFill/>
                </a:ln>
                <a:solidFill>
                  <a:srgbClr val="000000"/>
                </a:solidFill>
                <a:effectLst/>
                <a:uLnTx/>
                <a:uFillTx/>
                <a:latin typeface="Segoe UI"/>
                <a:ea typeface="+mn-ea"/>
                <a:cs typeface="Segoe UI"/>
              </a:rPr>
              <a:t>possono</a:t>
            </a:r>
            <a:r>
              <a:rPr kumimoji="0" lang="en-US" sz="1100" b="0" i="0" u="none" strike="noStrike" kern="1200" cap="none" spc="0" normalizeH="0" baseline="0" noProof="0" dirty="0">
                <a:ln>
                  <a:noFill/>
                </a:ln>
                <a:solidFill>
                  <a:srgbClr val="000000"/>
                </a:solidFill>
                <a:effectLst/>
                <a:uLnTx/>
                <a:uFillTx/>
                <a:latin typeface="Segoe UI"/>
                <a:ea typeface="+mn-ea"/>
                <a:cs typeface="Segoe UI"/>
              </a:rPr>
              <a:t> </a:t>
            </a:r>
            <a:r>
              <a:rPr kumimoji="0" lang="en-US" sz="1100" b="0" i="0" u="none" strike="noStrike" kern="1200" cap="none" spc="0" normalizeH="0" baseline="0" noProof="0" dirty="0" err="1">
                <a:ln>
                  <a:noFill/>
                </a:ln>
                <a:solidFill>
                  <a:srgbClr val="000000"/>
                </a:solidFill>
                <a:effectLst/>
                <a:uLnTx/>
                <a:uFillTx/>
                <a:latin typeface="Segoe UI"/>
                <a:ea typeface="+mn-ea"/>
                <a:cs typeface="Segoe UI"/>
              </a:rPr>
              <a:t>sviluppare</a:t>
            </a:r>
            <a:r>
              <a:rPr kumimoji="0" lang="en-US" sz="1100" b="0" i="0" u="none" strike="noStrike" kern="1200" cap="none" spc="0" normalizeH="0" baseline="0" noProof="0" dirty="0">
                <a:ln>
                  <a:noFill/>
                </a:ln>
                <a:solidFill>
                  <a:srgbClr val="000000"/>
                </a:solidFill>
                <a:effectLst/>
                <a:uLnTx/>
                <a:uFillTx/>
                <a:latin typeface="Segoe UI"/>
                <a:ea typeface="+mn-ea"/>
                <a:cs typeface="Segoe UI"/>
              </a:rPr>
              <a:t> le loro </a:t>
            </a:r>
            <a:r>
              <a:rPr kumimoji="0" lang="en-US" sz="1100" b="0" i="0" u="none" strike="noStrike" kern="1200" cap="none" spc="0" normalizeH="0" baseline="0" noProof="0" dirty="0" err="1">
                <a:ln>
                  <a:noFill/>
                </a:ln>
                <a:solidFill>
                  <a:srgbClr val="000000"/>
                </a:solidFill>
                <a:effectLst/>
                <a:uLnTx/>
                <a:uFillTx/>
                <a:latin typeface="Segoe UI"/>
                <a:ea typeface="+mn-ea"/>
                <a:cs typeface="Segoe UI"/>
              </a:rPr>
              <a:t>soluzioni</a:t>
            </a:r>
            <a:r>
              <a:rPr kumimoji="0" lang="en-US" sz="1100" b="0" i="0" u="none" strike="noStrike" kern="1200" cap="none" spc="0" normalizeH="0" baseline="0" noProof="0" dirty="0">
                <a:ln>
                  <a:noFill/>
                </a:ln>
                <a:solidFill>
                  <a:srgbClr val="000000"/>
                </a:solidFill>
                <a:effectLst/>
                <a:uLnTx/>
                <a:uFillTx/>
                <a:latin typeface="Segoe UI"/>
                <a:ea typeface="+mn-ea"/>
                <a:cs typeface="Segoe UI"/>
              </a:rPr>
              <a:t> di </a:t>
            </a:r>
            <a:r>
              <a:rPr kumimoji="0" lang="en-US" sz="1100" b="1" i="0" u="none" strike="noStrike" kern="1200" cap="none" spc="0" normalizeH="0" baseline="0" noProof="0" dirty="0" err="1">
                <a:ln>
                  <a:noFill/>
                </a:ln>
                <a:solidFill>
                  <a:srgbClr val="000000"/>
                </a:solidFill>
                <a:effectLst/>
                <a:uLnTx/>
                <a:uFillTx/>
                <a:latin typeface="Segoe UI"/>
                <a:ea typeface="+mn-ea"/>
                <a:cs typeface="Segoe UI"/>
              </a:rPr>
              <a:t>produttività</a:t>
            </a:r>
            <a:r>
              <a:rPr kumimoji="0" lang="en-US" sz="1100" b="1" i="0" u="none" strike="noStrike" kern="1200" cap="none" spc="0" normalizeH="0" baseline="0" noProof="0" dirty="0">
                <a:ln>
                  <a:noFill/>
                </a:ln>
                <a:solidFill>
                  <a:srgbClr val="000000"/>
                </a:solidFill>
                <a:effectLst/>
                <a:uLnTx/>
                <a:uFillTx/>
                <a:latin typeface="Segoe UI"/>
                <a:ea typeface="+mn-ea"/>
                <a:cs typeface="Segoe UI"/>
              </a:rPr>
              <a:t> </a:t>
            </a:r>
            <a:r>
              <a:rPr kumimoji="0" lang="en-US" sz="1100" b="1" i="0" u="none" strike="noStrike" kern="1200" cap="none" spc="0" normalizeH="0" baseline="0" noProof="0" dirty="0" err="1">
                <a:ln>
                  <a:noFill/>
                </a:ln>
                <a:solidFill>
                  <a:srgbClr val="000000"/>
                </a:solidFill>
                <a:effectLst/>
                <a:uLnTx/>
                <a:uFillTx/>
                <a:latin typeface="Segoe UI"/>
                <a:ea typeface="+mn-ea"/>
                <a:cs typeface="Segoe UI"/>
              </a:rPr>
              <a:t>personale</a:t>
            </a:r>
            <a:r>
              <a:rPr kumimoji="0" lang="en-US" sz="1100" i="0" u="none" strike="noStrike" kern="1200" cap="none" spc="0" normalizeH="0" baseline="0" noProof="0" dirty="0">
                <a:ln>
                  <a:noFill/>
                </a:ln>
                <a:solidFill>
                  <a:srgbClr val="000000"/>
                </a:solidFill>
                <a:effectLst/>
                <a:uLnTx/>
                <a:uFillTx/>
                <a:latin typeface="Segoe UI"/>
                <a:ea typeface="+mn-ea"/>
                <a:cs typeface="Segoe UI"/>
              </a:rPr>
              <a:t> </a:t>
            </a:r>
            <a:r>
              <a:rPr kumimoji="0" lang="en-US" sz="1100" i="0" u="none" strike="noStrike" kern="1200" cap="none" spc="0" normalizeH="0" baseline="0" noProof="0" dirty="0" err="1">
                <a:ln>
                  <a:noFill/>
                </a:ln>
                <a:solidFill>
                  <a:srgbClr val="000000"/>
                </a:solidFill>
                <a:effectLst/>
                <a:uLnTx/>
                <a:uFillTx/>
                <a:latin typeface="Segoe UI"/>
                <a:ea typeface="+mn-ea"/>
                <a:cs typeface="Segoe UI"/>
              </a:rPr>
              <a:t>all’interno</a:t>
            </a:r>
            <a:r>
              <a:rPr kumimoji="0" lang="en-US" sz="1100" i="0" u="none" strike="noStrike" kern="1200" cap="none" spc="0" normalizeH="0" baseline="0" noProof="0" dirty="0">
                <a:ln>
                  <a:noFill/>
                </a:ln>
                <a:solidFill>
                  <a:srgbClr val="000000"/>
                </a:solidFill>
                <a:effectLst/>
                <a:uLnTx/>
                <a:uFillTx/>
                <a:latin typeface="Segoe UI"/>
                <a:ea typeface="+mn-ea"/>
                <a:cs typeface="Segoe UI"/>
              </a:rPr>
              <a:t> di Copilot e in SharePoint.</a:t>
            </a:r>
            <a:endParaRPr kumimoji="0" lang="en-US" sz="1100" b="0" i="0" u="none" strike="noStrike" kern="1200" cap="none" spc="0" normalizeH="0" baseline="0" noProof="0" dirty="0">
              <a:ln>
                <a:noFill/>
              </a:ln>
              <a:solidFill>
                <a:srgbClr val="000000"/>
              </a:solidFill>
              <a:effectLst/>
              <a:uLnTx/>
              <a:uFillTx/>
              <a:latin typeface="Segoe UI"/>
              <a:ea typeface="+mn-ea"/>
              <a:cs typeface="Segoe UI"/>
            </a:endParaRPr>
          </a:p>
        </p:txBody>
      </p:sp>
      <p:sp>
        <p:nvSpPr>
          <p:cNvPr id="32" name="TextBox 31">
            <a:extLst>
              <a:ext uri="{FF2B5EF4-FFF2-40B4-BE49-F238E27FC236}">
                <a16:creationId xmlns:a16="http://schemas.microsoft.com/office/drawing/2014/main" id="{88BB76F1-329F-7DAC-9C7C-DE6B08E80EDC}"/>
              </a:ext>
            </a:extLst>
          </p:cNvPr>
          <p:cNvSpPr txBox="1"/>
          <p:nvPr/>
        </p:nvSpPr>
        <p:spPr>
          <a:xfrm>
            <a:off x="4937637" y="3423669"/>
            <a:ext cx="2309880" cy="36933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95CCD"/>
                </a:solidFill>
                <a:effectLst/>
                <a:uLnTx/>
                <a:uFillTx/>
                <a:latin typeface="Segoe UI Semibold"/>
                <a:ea typeface="+mn-ea"/>
                <a:cs typeface="Segoe UI Semibold"/>
              </a:rPr>
              <a:t>Maker</a:t>
            </a:r>
          </a:p>
        </p:txBody>
      </p:sp>
      <p:pic>
        <p:nvPicPr>
          <p:cNvPr id="35" name="Picture 2" descr="M365 copilot logo">
            <a:extLst>
              <a:ext uri="{FF2B5EF4-FFF2-40B4-BE49-F238E27FC236}">
                <a16:creationId xmlns:a16="http://schemas.microsoft.com/office/drawing/2014/main" id="{7508D98B-9AA6-FEE7-132B-2F7B9631262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99087" y="3925641"/>
            <a:ext cx="389614" cy="36576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Copilot Studio: Øk produktiviteten i bedriften | Puzzlepart">
            <a:extLst>
              <a:ext uri="{FF2B5EF4-FFF2-40B4-BE49-F238E27FC236}">
                <a16:creationId xmlns:a16="http://schemas.microsoft.com/office/drawing/2014/main" id="{D273C798-70D4-EAC2-4195-FAB40895B17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84713" y="3940201"/>
            <a:ext cx="408670" cy="365760"/>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65" name="TextBox 64">
            <a:extLst>
              <a:ext uri="{FF2B5EF4-FFF2-40B4-BE49-F238E27FC236}">
                <a16:creationId xmlns:a16="http://schemas.microsoft.com/office/drawing/2014/main" id="{49333FD1-0B8E-C1A9-C385-38395701C023}"/>
              </a:ext>
            </a:extLst>
          </p:cNvPr>
          <p:cNvSpPr txBox="1">
            <a:spLocks/>
          </p:cNvSpPr>
          <p:nvPr/>
        </p:nvSpPr>
        <p:spPr>
          <a:xfrm>
            <a:off x="4955480" y="4479587"/>
            <a:ext cx="2283334" cy="615553"/>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I maker </a:t>
            </a:r>
            <a:r>
              <a:rPr kumimoji="0" lang="en-US" sz="1000" b="0" i="0" u="none" strike="noStrike" kern="1200" cap="none" spc="0" normalizeH="0" baseline="0" noProof="0" dirty="0" err="1">
                <a:ln>
                  <a:noFill/>
                </a:ln>
                <a:solidFill>
                  <a:srgbClr val="000000"/>
                </a:solidFill>
                <a:effectLst/>
                <a:uLnTx/>
                <a:uFillTx/>
                <a:latin typeface="Segoe UI"/>
                <a:ea typeface="+mn-ea"/>
                <a:cs typeface="Segoe UI"/>
              </a:rPr>
              <a:t>possono</a:t>
            </a:r>
            <a:r>
              <a:rPr kumimoji="0" lang="en-US" sz="1000" b="0" i="0" u="none" strike="noStrike" kern="1200" cap="none" spc="0" normalizeH="0" baseline="0" noProof="0" dirty="0">
                <a:ln>
                  <a:noFill/>
                </a:ln>
                <a:solidFill>
                  <a:srgbClr val="000000"/>
                </a:solidFill>
                <a:effectLst/>
                <a:uLnTx/>
                <a:uFillTx/>
                <a:latin typeface="Segoe UI"/>
                <a:ea typeface="+mn-ea"/>
                <a:cs typeface="Segoe UI"/>
              </a:rPr>
              <a:t> </a:t>
            </a:r>
            <a:r>
              <a:rPr kumimoji="0" lang="en-US" sz="1000" b="0" i="0" u="none" strike="noStrike" kern="1200" cap="none" spc="0" normalizeH="0" baseline="0" noProof="0" dirty="0" err="1">
                <a:ln>
                  <a:noFill/>
                </a:ln>
                <a:solidFill>
                  <a:srgbClr val="000000"/>
                </a:solidFill>
                <a:effectLst/>
                <a:uLnTx/>
                <a:uFillTx/>
                <a:latin typeface="Segoe UI"/>
                <a:ea typeface="+mn-ea"/>
                <a:cs typeface="Segoe UI"/>
              </a:rPr>
              <a:t>sviluppare</a:t>
            </a:r>
            <a:r>
              <a:rPr lang="en-US" sz="1000" dirty="0">
                <a:solidFill>
                  <a:srgbClr val="000000"/>
                </a:solidFill>
                <a:latin typeface="Segoe UI"/>
                <a:cs typeface="Segoe UI"/>
              </a:rPr>
              <a:t>, in </a:t>
            </a:r>
            <a:r>
              <a:rPr lang="en-US" sz="1000" dirty="0" err="1">
                <a:solidFill>
                  <a:srgbClr val="000000"/>
                </a:solidFill>
                <a:latin typeface="Segoe UI"/>
                <a:cs typeface="Segoe UI"/>
              </a:rPr>
              <a:t>ambienti</a:t>
            </a:r>
            <a:r>
              <a:rPr lang="en-US" sz="1000" dirty="0">
                <a:solidFill>
                  <a:srgbClr val="000000"/>
                </a:solidFill>
                <a:latin typeface="Segoe UI"/>
                <a:cs typeface="Segoe UI"/>
              </a:rPr>
              <a:t> </a:t>
            </a:r>
            <a:r>
              <a:rPr lang="en-US" sz="1000" dirty="0" err="1">
                <a:solidFill>
                  <a:srgbClr val="000000"/>
                </a:solidFill>
                <a:latin typeface="Segoe UI"/>
                <a:cs typeface="Segoe UI"/>
              </a:rPr>
              <a:t>dedicati</a:t>
            </a:r>
            <a:r>
              <a:rPr lang="en-US" sz="1000" dirty="0">
                <a:solidFill>
                  <a:srgbClr val="000000"/>
                </a:solidFill>
                <a:latin typeface="Segoe UI"/>
                <a:cs typeface="Segoe UI"/>
              </a:rPr>
              <a:t>, </a:t>
            </a:r>
            <a:r>
              <a:rPr lang="en-US" sz="1000" dirty="0" err="1">
                <a:solidFill>
                  <a:srgbClr val="000000"/>
                </a:solidFill>
                <a:latin typeface="Segoe UI"/>
                <a:cs typeface="Segoe UI"/>
              </a:rPr>
              <a:t>soluzioni</a:t>
            </a:r>
            <a:r>
              <a:rPr lang="en-US" sz="1000" dirty="0">
                <a:solidFill>
                  <a:srgbClr val="000000"/>
                </a:solidFill>
                <a:latin typeface="Segoe UI"/>
                <a:cs typeface="Segoe UI"/>
              </a:rPr>
              <a:t> </a:t>
            </a:r>
            <a:r>
              <a:rPr lang="en-US" sz="1000" dirty="0" err="1">
                <a:solidFill>
                  <a:srgbClr val="000000"/>
                </a:solidFill>
                <a:latin typeface="Segoe UI"/>
                <a:cs typeface="Segoe UI"/>
              </a:rPr>
              <a:t>più</a:t>
            </a:r>
            <a:r>
              <a:rPr lang="en-US" sz="1000" dirty="0">
                <a:solidFill>
                  <a:srgbClr val="000000"/>
                </a:solidFill>
                <a:latin typeface="Segoe UI"/>
                <a:cs typeface="Segoe UI"/>
              </a:rPr>
              <a:t> </a:t>
            </a:r>
            <a:r>
              <a:rPr lang="en-US" sz="1000" dirty="0" err="1">
                <a:solidFill>
                  <a:srgbClr val="000000"/>
                </a:solidFill>
                <a:latin typeface="Segoe UI"/>
                <a:cs typeface="Segoe UI"/>
              </a:rPr>
              <a:t>complesse</a:t>
            </a:r>
            <a:r>
              <a:rPr lang="en-US" sz="1000" dirty="0">
                <a:solidFill>
                  <a:srgbClr val="000000"/>
                </a:solidFill>
                <a:latin typeface="Segoe UI"/>
                <a:cs typeface="Segoe UI"/>
              </a:rPr>
              <a:t> e </a:t>
            </a:r>
            <a:r>
              <a:rPr lang="en-US" sz="1000" dirty="0" err="1">
                <a:solidFill>
                  <a:srgbClr val="000000"/>
                </a:solidFill>
                <a:latin typeface="Segoe UI"/>
                <a:cs typeface="Segoe UI"/>
              </a:rPr>
              <a:t>rilasciarle</a:t>
            </a:r>
            <a:r>
              <a:rPr lang="en-US" sz="1000" dirty="0">
                <a:solidFill>
                  <a:srgbClr val="000000"/>
                </a:solidFill>
                <a:latin typeface="Segoe UI"/>
                <a:cs typeface="Segoe UI"/>
              </a:rPr>
              <a:t> </a:t>
            </a:r>
            <a:r>
              <a:rPr lang="en-US" sz="1000" dirty="0" err="1">
                <a:solidFill>
                  <a:srgbClr val="000000"/>
                </a:solidFill>
                <a:latin typeface="Segoe UI"/>
                <a:cs typeface="Segoe UI"/>
              </a:rPr>
              <a:t>tramite</a:t>
            </a:r>
            <a:r>
              <a:rPr lang="en-US" sz="1000" dirty="0">
                <a:solidFill>
                  <a:srgbClr val="000000"/>
                </a:solidFill>
                <a:latin typeface="Segoe UI"/>
                <a:cs typeface="Segoe UI"/>
              </a:rPr>
              <a:t> </a:t>
            </a:r>
            <a:r>
              <a:rPr lang="en-US" sz="1000" dirty="0" err="1">
                <a:solidFill>
                  <a:srgbClr val="000000"/>
                </a:solidFill>
                <a:latin typeface="Segoe UI"/>
                <a:cs typeface="Segoe UI"/>
              </a:rPr>
              <a:t>controllo</a:t>
            </a:r>
            <a:r>
              <a:rPr lang="en-US" sz="1000" dirty="0">
                <a:solidFill>
                  <a:srgbClr val="000000"/>
                </a:solidFill>
                <a:latin typeface="Segoe UI"/>
                <a:cs typeface="Segoe UI"/>
              </a:rPr>
              <a:t> </a:t>
            </a:r>
            <a:r>
              <a:rPr lang="en-US" sz="1000" dirty="0" err="1">
                <a:solidFill>
                  <a:srgbClr val="000000"/>
                </a:solidFill>
                <a:latin typeface="Segoe UI"/>
                <a:cs typeface="Segoe UI"/>
              </a:rPr>
              <a:t>dell’IT</a:t>
            </a:r>
            <a:r>
              <a:rPr lang="en-US" sz="1000" dirty="0">
                <a:solidFill>
                  <a:srgbClr val="000000"/>
                </a:solidFill>
                <a:latin typeface="Segoe UI"/>
                <a:cs typeface="Segoe UI"/>
              </a:rPr>
              <a:t> </a:t>
            </a:r>
            <a:r>
              <a:rPr lang="en-US" sz="1000" dirty="0" err="1">
                <a:solidFill>
                  <a:srgbClr val="000000"/>
                </a:solidFill>
                <a:latin typeface="Segoe UI"/>
                <a:cs typeface="Segoe UI"/>
              </a:rPr>
              <a:t>all’interno</a:t>
            </a:r>
            <a:r>
              <a:rPr lang="en-US" sz="1000" dirty="0">
                <a:solidFill>
                  <a:srgbClr val="000000"/>
                </a:solidFill>
                <a:latin typeface="Segoe UI"/>
                <a:cs typeface="Segoe UI"/>
              </a:rPr>
              <a:t> </a:t>
            </a:r>
            <a:r>
              <a:rPr lang="en-US" sz="1000" dirty="0" err="1">
                <a:solidFill>
                  <a:srgbClr val="000000"/>
                </a:solidFill>
                <a:latin typeface="Segoe UI"/>
                <a:cs typeface="Segoe UI"/>
              </a:rPr>
              <a:t>dell’organizzazione</a:t>
            </a:r>
            <a:r>
              <a:rPr lang="en-US" sz="1000" dirty="0">
                <a:solidFill>
                  <a:srgbClr val="000000"/>
                </a:solidFill>
                <a:latin typeface="Segoe UI"/>
                <a:cs typeface="Segoe UI"/>
              </a:rPr>
              <a:t>.</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686E1B9B-636E-FF3A-AE2B-81BE0ABF10D0}"/>
              </a:ext>
            </a:extLst>
          </p:cNvPr>
          <p:cNvSpPr txBox="1"/>
          <p:nvPr/>
        </p:nvSpPr>
        <p:spPr>
          <a:xfrm>
            <a:off x="7712222" y="3434276"/>
            <a:ext cx="2425771" cy="36933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D8ECF"/>
                </a:solidFill>
                <a:effectLst/>
                <a:uLnTx/>
                <a:uFillTx/>
                <a:latin typeface="Segoe UI Semibold"/>
                <a:ea typeface="+mn-ea"/>
                <a:cs typeface="Segoe UI Semibold"/>
              </a:rPr>
              <a:t>Developer</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37" name="Picture 4" descr="Copilot Studio: Øk produktiviteten i bedriften | Puzzlepart">
            <a:extLst>
              <a:ext uri="{FF2B5EF4-FFF2-40B4-BE49-F238E27FC236}">
                <a16:creationId xmlns:a16="http://schemas.microsoft.com/office/drawing/2014/main" id="{E662D703-25C8-79CD-EC68-73DF6AE78D8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47777" y="3940465"/>
            <a:ext cx="408670" cy="365760"/>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46" name="Azure icon" descr="Azure logo">
            <a:extLst>
              <a:ext uri="{FF2B5EF4-FFF2-40B4-BE49-F238E27FC236}">
                <a16:creationId xmlns:a16="http://schemas.microsoft.com/office/drawing/2014/main" id="{FE8F2674-B977-386D-B586-E4F702D8D4AF}"/>
              </a:ext>
            </a:extLst>
          </p:cNvPr>
          <p:cNvPicPr>
            <a:picLocks noChangeAspect="1"/>
          </p:cNvPicPr>
          <p:nvPr/>
        </p:nvPicPr>
        <p:blipFill>
          <a:blip r:embed="rId9"/>
          <a:stretch>
            <a:fillRect/>
          </a:stretch>
        </p:blipFill>
        <p:spPr>
          <a:xfrm>
            <a:off x="9052787" y="3937984"/>
            <a:ext cx="365760" cy="365760"/>
          </a:xfrm>
          <a:prstGeom prst="rect">
            <a:avLst/>
          </a:prstGeom>
          <a:ln w="7441" cap="flat">
            <a:noFill/>
            <a:prstDash val="solid"/>
            <a:miter/>
          </a:ln>
          <a:effectLst>
            <a:outerShdw blurRad="50800" dist="38100" dir="5400000" algn="t" rotWithShape="0">
              <a:prstClr val="black">
                <a:alpha val="40000"/>
              </a:prstClr>
            </a:outerShdw>
          </a:effectLst>
        </p:spPr>
      </p:pic>
      <p:sp>
        <p:nvSpPr>
          <p:cNvPr id="67" name="TextBox 66">
            <a:extLst>
              <a:ext uri="{FF2B5EF4-FFF2-40B4-BE49-F238E27FC236}">
                <a16:creationId xmlns:a16="http://schemas.microsoft.com/office/drawing/2014/main" id="{04BCA4FC-DA59-112F-6FF6-9B50E18431F0}"/>
              </a:ext>
            </a:extLst>
          </p:cNvPr>
          <p:cNvSpPr txBox="1">
            <a:spLocks/>
          </p:cNvSpPr>
          <p:nvPr/>
        </p:nvSpPr>
        <p:spPr>
          <a:xfrm>
            <a:off x="7869815" y="4479810"/>
            <a:ext cx="2115334" cy="677108"/>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a:rPr>
              <a:t>I developer </a:t>
            </a:r>
            <a:r>
              <a:rPr kumimoji="0" lang="en-US" sz="1100" b="0" i="0" u="none" strike="noStrike" kern="1200" cap="none" spc="0" normalizeH="0" baseline="0" noProof="0" dirty="0" err="1">
                <a:ln>
                  <a:noFill/>
                </a:ln>
                <a:solidFill>
                  <a:srgbClr val="000000"/>
                </a:solidFill>
                <a:effectLst/>
                <a:uLnTx/>
                <a:uFillTx/>
                <a:latin typeface="Segoe UI"/>
                <a:ea typeface="+mn-ea"/>
                <a:cs typeface="Segoe UI"/>
              </a:rPr>
              <a:t>possono</a:t>
            </a:r>
            <a:r>
              <a:rPr kumimoji="0" lang="en-US" sz="1100" b="0" i="0" u="none" strike="noStrike" kern="1200" cap="none" spc="0" normalizeH="0" baseline="0" noProof="0" dirty="0">
                <a:ln>
                  <a:noFill/>
                </a:ln>
                <a:solidFill>
                  <a:srgbClr val="000000"/>
                </a:solidFill>
                <a:effectLst/>
                <a:uLnTx/>
                <a:uFillTx/>
                <a:latin typeface="Segoe UI"/>
                <a:ea typeface="+mn-ea"/>
                <a:cs typeface="Segoe UI"/>
              </a:rPr>
              <a:t> </a:t>
            </a:r>
            <a:r>
              <a:rPr kumimoji="0" lang="en-US" sz="1100" b="0" i="0" u="none" strike="noStrike" kern="1200" cap="none" spc="0" normalizeH="0" baseline="0" noProof="0" dirty="0" err="1">
                <a:ln>
                  <a:noFill/>
                </a:ln>
                <a:solidFill>
                  <a:srgbClr val="000000"/>
                </a:solidFill>
                <a:effectLst/>
                <a:uLnTx/>
                <a:uFillTx/>
                <a:latin typeface="Segoe UI"/>
                <a:ea typeface="+mn-ea"/>
                <a:cs typeface="Segoe UI"/>
              </a:rPr>
              <a:t>costruire</a:t>
            </a:r>
            <a:r>
              <a:rPr kumimoji="0" lang="en-US" sz="1100" b="0" i="0" u="none" strike="noStrike" kern="1200" cap="none" spc="0" normalizeH="0" baseline="0" noProof="0" dirty="0">
                <a:ln>
                  <a:noFill/>
                </a:ln>
                <a:solidFill>
                  <a:srgbClr val="000000"/>
                </a:solidFill>
                <a:effectLst/>
                <a:uLnTx/>
                <a:uFillTx/>
                <a:latin typeface="Segoe UI"/>
                <a:ea typeface="+mn-ea"/>
                <a:cs typeface="Segoe UI"/>
              </a:rPr>
              <a:t> </a:t>
            </a:r>
            <a:r>
              <a:rPr kumimoji="0" lang="en-US" sz="1100" b="0" i="0" u="none" strike="noStrike" kern="1200" cap="none" spc="0" normalizeH="0" baseline="0" noProof="0" dirty="0" err="1">
                <a:ln>
                  <a:noFill/>
                </a:ln>
                <a:solidFill>
                  <a:srgbClr val="000000"/>
                </a:solidFill>
                <a:effectLst/>
                <a:uLnTx/>
                <a:uFillTx/>
                <a:latin typeface="Segoe UI"/>
                <a:ea typeface="+mn-ea"/>
                <a:cs typeface="Segoe UI"/>
              </a:rPr>
              <a:t>applicazioni</a:t>
            </a:r>
            <a:r>
              <a:rPr kumimoji="0" lang="en-US" sz="1100" b="0" i="0" u="none" strike="noStrike" kern="1200" cap="none" spc="0" normalizeH="0" baseline="0" noProof="0" dirty="0">
                <a:ln>
                  <a:noFill/>
                </a:ln>
                <a:solidFill>
                  <a:srgbClr val="000000"/>
                </a:solidFill>
                <a:effectLst/>
                <a:uLnTx/>
                <a:uFillTx/>
                <a:latin typeface="Segoe UI"/>
                <a:ea typeface="+mn-ea"/>
                <a:cs typeface="Segoe UI"/>
              </a:rPr>
              <a:t> </a:t>
            </a:r>
            <a:r>
              <a:rPr kumimoji="0" lang="en-US" sz="1100" b="0" i="0" u="none" strike="noStrike" kern="1200" cap="none" spc="0" normalizeH="0" baseline="0" noProof="0" dirty="0" err="1">
                <a:ln>
                  <a:noFill/>
                </a:ln>
                <a:solidFill>
                  <a:srgbClr val="000000"/>
                </a:solidFill>
                <a:effectLst/>
                <a:uLnTx/>
                <a:uFillTx/>
                <a:latin typeface="Segoe UI"/>
                <a:ea typeface="+mn-ea"/>
                <a:cs typeface="Segoe UI"/>
              </a:rPr>
              <a:t>complesse</a:t>
            </a:r>
            <a:r>
              <a:rPr kumimoji="0" lang="en-US" sz="1100" b="0" i="0" u="none" strike="noStrike" kern="1200" cap="none" spc="0" normalizeH="0" baseline="0" noProof="0" dirty="0">
                <a:ln>
                  <a:noFill/>
                </a:ln>
                <a:solidFill>
                  <a:srgbClr val="000000"/>
                </a:solidFill>
                <a:effectLst/>
                <a:uLnTx/>
                <a:uFillTx/>
                <a:latin typeface="Segoe UI"/>
                <a:ea typeface="+mn-ea"/>
                <a:cs typeface="Segoe UI"/>
              </a:rPr>
              <a:t> di </a:t>
            </a:r>
            <a:r>
              <a:rPr kumimoji="0" lang="en-US" sz="1100" b="0" i="0" u="none" strike="noStrike" kern="1200" cap="none" spc="0" normalizeH="0" baseline="0" noProof="0" dirty="0" err="1">
                <a:ln>
                  <a:noFill/>
                </a:ln>
                <a:solidFill>
                  <a:srgbClr val="000000"/>
                </a:solidFill>
                <a:effectLst/>
                <a:uLnTx/>
                <a:uFillTx/>
                <a:latin typeface="Segoe UI"/>
                <a:ea typeface="+mn-ea"/>
                <a:cs typeface="Segoe UI"/>
              </a:rPr>
              <a:t>livello</a:t>
            </a:r>
            <a:r>
              <a:rPr kumimoji="0" lang="en-US" sz="1100" b="0" i="0" u="none" strike="noStrike" kern="1200" cap="none" spc="0" normalizeH="0" baseline="0" noProof="0" dirty="0">
                <a:ln>
                  <a:noFill/>
                </a:ln>
                <a:solidFill>
                  <a:srgbClr val="000000"/>
                </a:solidFill>
                <a:effectLst/>
                <a:uLnTx/>
                <a:uFillTx/>
                <a:latin typeface="Segoe UI"/>
                <a:ea typeface="+mn-ea"/>
                <a:cs typeface="Segoe UI"/>
              </a:rPr>
              <a:t> enterprise, ed </a:t>
            </a:r>
            <a:r>
              <a:rPr kumimoji="0" lang="en-US" sz="1100" b="0" i="0" u="none" strike="noStrike" kern="1200" cap="none" spc="0" normalizeH="0" baseline="0" noProof="0" dirty="0" err="1">
                <a:ln>
                  <a:noFill/>
                </a:ln>
                <a:solidFill>
                  <a:srgbClr val="000000"/>
                </a:solidFill>
                <a:effectLst/>
                <a:uLnTx/>
                <a:uFillTx/>
                <a:latin typeface="Segoe UI"/>
                <a:ea typeface="+mn-ea"/>
                <a:cs typeface="Segoe UI"/>
              </a:rPr>
              <a:t>inserirle</a:t>
            </a:r>
            <a:r>
              <a:rPr kumimoji="0" lang="en-US" sz="1100" b="0" i="0" u="none" strike="noStrike" kern="1200" cap="none" spc="0" normalizeH="0" baseline="0" noProof="0" dirty="0">
                <a:ln>
                  <a:noFill/>
                </a:ln>
                <a:solidFill>
                  <a:srgbClr val="000000"/>
                </a:solidFill>
                <a:effectLst/>
                <a:uLnTx/>
                <a:uFillTx/>
                <a:latin typeface="Segoe UI"/>
                <a:ea typeface="+mn-ea"/>
                <a:cs typeface="Segoe UI"/>
              </a:rPr>
              <a:t> </a:t>
            </a:r>
            <a:r>
              <a:rPr kumimoji="0" lang="en-US" sz="1100" b="0" i="0" u="none" strike="noStrike" kern="1200" cap="none" spc="0" normalizeH="0" baseline="0" noProof="0" dirty="0" err="1">
                <a:ln>
                  <a:noFill/>
                </a:ln>
                <a:solidFill>
                  <a:srgbClr val="000000"/>
                </a:solidFill>
                <a:effectLst/>
                <a:uLnTx/>
                <a:uFillTx/>
                <a:latin typeface="Segoe UI"/>
                <a:ea typeface="+mn-ea"/>
                <a:cs typeface="Segoe UI"/>
              </a:rPr>
              <a:t>all’interno</a:t>
            </a:r>
            <a:r>
              <a:rPr kumimoji="0" lang="en-US" sz="1100" b="0" i="0" u="none" strike="noStrike" kern="1200" cap="none" spc="0" normalizeH="0" baseline="0" noProof="0" dirty="0">
                <a:ln>
                  <a:noFill/>
                </a:ln>
                <a:solidFill>
                  <a:srgbClr val="000000"/>
                </a:solidFill>
                <a:effectLst/>
                <a:uLnTx/>
                <a:uFillTx/>
                <a:latin typeface="Segoe UI"/>
                <a:ea typeface="+mn-ea"/>
                <a:cs typeface="Segoe UI"/>
              </a:rPr>
              <a:t> del </a:t>
            </a:r>
            <a:r>
              <a:rPr kumimoji="0" lang="en-US" sz="1100" b="0" i="0" u="none" strike="noStrike" kern="1200" cap="none" spc="0" normalizeH="0" baseline="0" noProof="0" dirty="0" err="1">
                <a:ln>
                  <a:noFill/>
                </a:ln>
                <a:solidFill>
                  <a:srgbClr val="000000"/>
                </a:solidFill>
                <a:effectLst/>
                <a:uLnTx/>
                <a:uFillTx/>
                <a:latin typeface="Segoe UI"/>
                <a:ea typeface="+mn-ea"/>
                <a:cs typeface="Segoe UI"/>
              </a:rPr>
              <a:t>parco</a:t>
            </a:r>
            <a:r>
              <a:rPr kumimoji="0" lang="en-US" sz="1100" b="0" i="0" u="none" strike="noStrike" kern="1200" cap="none" spc="0" normalizeH="0" baseline="0" noProof="0" dirty="0">
                <a:ln>
                  <a:noFill/>
                </a:ln>
                <a:solidFill>
                  <a:srgbClr val="000000"/>
                </a:solidFill>
                <a:effectLst/>
                <a:uLnTx/>
                <a:uFillTx/>
                <a:latin typeface="Segoe UI"/>
                <a:ea typeface="+mn-ea"/>
                <a:cs typeface="Segoe UI"/>
              </a:rPr>
              <a:t> software </a:t>
            </a:r>
            <a:r>
              <a:rPr kumimoji="0" lang="en-US" sz="1100" b="0" i="0" u="none" strike="noStrike" kern="1200" cap="none" spc="0" normalizeH="0" baseline="0" noProof="0" dirty="0" err="1">
                <a:ln>
                  <a:noFill/>
                </a:ln>
                <a:solidFill>
                  <a:srgbClr val="000000"/>
                </a:solidFill>
                <a:effectLst/>
                <a:uLnTx/>
                <a:uFillTx/>
                <a:latin typeface="Segoe UI"/>
                <a:ea typeface="+mn-ea"/>
                <a:cs typeface="Segoe UI"/>
              </a:rPr>
              <a:t>aziendale</a:t>
            </a:r>
            <a:r>
              <a:rPr kumimoji="0" lang="en-US" sz="1100" b="0" i="0" u="none" strike="noStrike" kern="1200" cap="none" spc="0" normalizeH="0" baseline="0" noProof="0" dirty="0">
                <a:ln>
                  <a:noFill/>
                </a:ln>
                <a:solidFill>
                  <a:srgbClr val="000000"/>
                </a:solidFill>
                <a:effectLst/>
                <a:uLnTx/>
                <a:uFillTx/>
                <a:latin typeface="Segoe UI"/>
                <a:ea typeface="+mn-ea"/>
                <a:cs typeface="Segoe UI"/>
              </a:rPr>
              <a:t>.</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Rectangle: Rounded Corners 38">
            <a:extLst>
              <a:ext uri="{FF2B5EF4-FFF2-40B4-BE49-F238E27FC236}">
                <a16:creationId xmlns:a16="http://schemas.microsoft.com/office/drawing/2014/main" id="{276CBE7A-6B9E-ADFB-5F16-E602EF11E0A9}"/>
              </a:ext>
            </a:extLst>
          </p:cNvPr>
          <p:cNvSpPr>
            <a:spLocks/>
          </p:cNvSpPr>
          <p:nvPr/>
        </p:nvSpPr>
        <p:spPr bwMode="auto">
          <a:xfrm>
            <a:off x="583593" y="5526240"/>
            <a:ext cx="11032653" cy="476071"/>
          </a:xfrm>
          <a:prstGeom prst="roundRect">
            <a:avLst>
              <a:gd name="adj" fmla="val 5000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Segoe UI"/>
              </a:rPr>
              <a:t>Data protection, </a:t>
            </a:r>
            <a:r>
              <a:rPr kumimoji="0" lang="en-US" sz="1600" b="0" i="0" u="none" strike="noStrike" kern="1200" cap="none" spc="0" normalizeH="0" baseline="0" noProof="0" dirty="0" err="1">
                <a:ln>
                  <a:noFill/>
                </a:ln>
                <a:solidFill>
                  <a:srgbClr val="000000"/>
                </a:solidFill>
                <a:effectLst/>
                <a:uLnTx/>
                <a:uFillTx/>
                <a:latin typeface="Segoe UI"/>
                <a:ea typeface="+mn-ea"/>
                <a:cs typeface="Segoe UI"/>
              </a:rPr>
              <a:t>condivisione</a:t>
            </a:r>
            <a:r>
              <a:rPr kumimoji="0" lang="en-US" sz="1600" b="0" i="0" u="none" strike="noStrike" kern="1200" cap="none" spc="0" normalizeH="0" baseline="0" noProof="0" dirty="0">
                <a:ln>
                  <a:noFill/>
                </a:ln>
                <a:solidFill>
                  <a:srgbClr val="000000"/>
                </a:solidFill>
                <a:effectLst/>
                <a:uLnTx/>
                <a:uFillTx/>
                <a:latin typeface="Segoe UI"/>
                <a:ea typeface="+mn-ea"/>
                <a:cs typeface="Segoe UI"/>
              </a:rPr>
              <a:t> &amp; </a:t>
            </a:r>
            <a:r>
              <a:rPr kumimoji="0" lang="en-US" sz="1600" b="0" i="0" u="none" strike="noStrike" kern="1200" cap="none" spc="0" normalizeH="0" baseline="0" noProof="0" dirty="0" err="1">
                <a:ln>
                  <a:noFill/>
                </a:ln>
                <a:solidFill>
                  <a:srgbClr val="000000"/>
                </a:solidFill>
                <a:effectLst/>
                <a:uLnTx/>
                <a:uFillTx/>
                <a:latin typeface="Segoe UI"/>
                <a:ea typeface="+mn-ea"/>
                <a:cs typeface="Segoe UI"/>
              </a:rPr>
              <a:t>utilizzo</a:t>
            </a:r>
            <a:r>
              <a:rPr kumimoji="0" lang="en-US" sz="1600" b="0" i="0" u="none" strike="noStrike" kern="1200" cap="none" spc="0" normalizeH="0" baseline="0" noProof="0" dirty="0">
                <a:ln>
                  <a:noFill/>
                </a:ln>
                <a:solidFill>
                  <a:srgbClr val="000000"/>
                </a:solidFill>
                <a:effectLst/>
                <a:uLnTx/>
                <a:uFillTx/>
                <a:latin typeface="Segoe UI"/>
                <a:ea typeface="+mn-ea"/>
                <a:cs typeface="Segoe UI"/>
              </a:rPr>
              <a:t>, </a:t>
            </a:r>
            <a:r>
              <a:rPr kumimoji="0" lang="en-US" sz="1600" b="0" i="0" u="none" strike="noStrike" kern="1200" cap="none" spc="0" normalizeH="0" baseline="0" noProof="0" dirty="0" err="1">
                <a:ln>
                  <a:noFill/>
                </a:ln>
                <a:solidFill>
                  <a:srgbClr val="000000"/>
                </a:solidFill>
                <a:effectLst/>
                <a:uLnTx/>
                <a:uFillTx/>
                <a:latin typeface="Segoe UI"/>
                <a:ea typeface="+mn-ea"/>
                <a:cs typeface="Segoe UI"/>
              </a:rPr>
              <a:t>reportistica</a:t>
            </a:r>
            <a:r>
              <a:rPr kumimoji="0" lang="en-US" sz="1600" b="0" i="0" u="none" strike="noStrike" kern="1200" cap="none" spc="0" normalizeH="0" baseline="0" noProof="0" dirty="0">
                <a:ln>
                  <a:noFill/>
                </a:ln>
                <a:solidFill>
                  <a:srgbClr val="000000"/>
                </a:solidFill>
                <a:effectLst/>
                <a:uLnTx/>
                <a:uFillTx/>
                <a:latin typeface="Segoe UI"/>
                <a:ea typeface="+mn-ea"/>
                <a:cs typeface="Segoe UI"/>
              </a:rPr>
              <a:t> &amp;</a:t>
            </a:r>
            <a:r>
              <a:rPr kumimoji="0" lang="en-US" sz="1600" b="0" i="0" u="none" strike="noStrike" kern="1200" cap="none" spc="0" normalizeH="0" noProof="0" dirty="0">
                <a:ln>
                  <a:noFill/>
                </a:ln>
                <a:solidFill>
                  <a:srgbClr val="000000"/>
                </a:solidFill>
                <a:effectLst/>
                <a:uLnTx/>
                <a:uFillTx/>
                <a:latin typeface="Segoe UI"/>
                <a:ea typeface="+mn-ea"/>
                <a:cs typeface="Segoe UI"/>
              </a:rPr>
              <a:t> </a:t>
            </a:r>
            <a:r>
              <a:rPr kumimoji="0" lang="en-US" sz="1600" b="0" i="0" u="none" strike="noStrike" kern="1200" cap="none" spc="0" normalizeH="0" noProof="0" dirty="0" err="1">
                <a:ln>
                  <a:noFill/>
                </a:ln>
                <a:solidFill>
                  <a:srgbClr val="000000"/>
                </a:solidFill>
                <a:effectLst/>
                <a:uLnTx/>
                <a:uFillTx/>
                <a:latin typeface="Segoe UI"/>
                <a:ea typeface="+mn-ea"/>
                <a:cs typeface="Segoe UI"/>
              </a:rPr>
              <a:t>gestione</a:t>
            </a:r>
            <a:r>
              <a:rPr kumimoji="0" lang="en-US" sz="1600" b="0" i="0" u="none" strike="noStrike" kern="1200" cap="none" spc="0" normalizeH="0" noProof="0" dirty="0">
                <a:ln>
                  <a:noFill/>
                </a:ln>
                <a:solidFill>
                  <a:srgbClr val="000000"/>
                </a:solidFill>
                <a:effectLst/>
                <a:uLnTx/>
                <a:uFillTx/>
                <a:latin typeface="Segoe UI"/>
                <a:ea typeface="+mn-ea"/>
                <a:cs typeface="Segoe UI"/>
              </a:rPr>
              <a:t> </a:t>
            </a:r>
            <a:r>
              <a:rPr kumimoji="0" lang="en-US" sz="1600" b="0" i="0" u="none" strike="noStrike" kern="1200" cap="none" spc="0" normalizeH="0" noProof="0" dirty="0" err="1">
                <a:ln>
                  <a:noFill/>
                </a:ln>
                <a:solidFill>
                  <a:srgbClr val="000000"/>
                </a:solidFill>
                <a:effectLst/>
                <a:uLnTx/>
                <a:uFillTx/>
                <a:latin typeface="Segoe UI"/>
                <a:ea typeface="+mn-ea"/>
                <a:cs typeface="Segoe UI"/>
              </a:rPr>
              <a:t>dei</a:t>
            </a:r>
            <a:r>
              <a:rPr kumimoji="0" lang="en-US" sz="1600" b="0" i="0" u="none" strike="noStrike" kern="1200" cap="none" spc="0" normalizeH="0" noProof="0" dirty="0">
                <a:ln>
                  <a:noFill/>
                </a:ln>
                <a:solidFill>
                  <a:srgbClr val="000000"/>
                </a:solidFill>
                <a:effectLst/>
                <a:uLnTx/>
                <a:uFillTx/>
                <a:latin typeface="Segoe UI"/>
                <a:ea typeface="+mn-ea"/>
                <a:cs typeface="Segoe UI"/>
              </a:rPr>
              <a:t> </a:t>
            </a:r>
            <a:r>
              <a:rPr kumimoji="0" lang="en-US" sz="1600" b="0" i="0" u="none" strike="noStrike" kern="1200" cap="none" spc="0" normalizeH="0" noProof="0" dirty="0" err="1">
                <a:ln>
                  <a:noFill/>
                </a:ln>
                <a:solidFill>
                  <a:srgbClr val="000000"/>
                </a:solidFill>
                <a:effectLst/>
                <a:uLnTx/>
                <a:uFillTx/>
                <a:latin typeface="Segoe UI"/>
                <a:ea typeface="+mn-ea"/>
                <a:cs typeface="Segoe UI"/>
              </a:rPr>
              <a:t>costi</a:t>
            </a:r>
            <a:r>
              <a:rPr kumimoji="0" lang="en-US" sz="1600" b="0" i="0" u="none" strike="noStrike" kern="1200" cap="none" spc="0" normalizeH="0" noProof="0" dirty="0">
                <a:ln>
                  <a:noFill/>
                </a:ln>
                <a:solidFill>
                  <a:srgbClr val="000000"/>
                </a:solidFill>
                <a:effectLst/>
                <a:uLnTx/>
                <a:uFillTx/>
                <a:latin typeface="Segoe UI"/>
                <a:ea typeface="+mn-ea"/>
                <a:cs typeface="Segoe UI"/>
              </a:rPr>
              <a:t> a </a:t>
            </a:r>
            <a:r>
              <a:rPr kumimoji="0" lang="en-US" sz="1600" b="0" i="0" u="none" strike="noStrike" kern="1200" cap="none" spc="0" normalizeH="0" noProof="0" dirty="0" err="1">
                <a:ln>
                  <a:noFill/>
                </a:ln>
                <a:solidFill>
                  <a:srgbClr val="000000"/>
                </a:solidFill>
                <a:effectLst/>
                <a:uLnTx/>
                <a:uFillTx/>
                <a:latin typeface="Segoe UI"/>
                <a:ea typeface="+mn-ea"/>
                <a:cs typeface="Segoe UI"/>
              </a:rPr>
              <a:t>livello</a:t>
            </a:r>
            <a:r>
              <a:rPr kumimoji="0" lang="en-US" sz="1600" b="0" i="0" u="none" strike="noStrike" kern="1200" cap="none" spc="0" normalizeH="0" noProof="0" dirty="0">
                <a:ln>
                  <a:noFill/>
                </a:ln>
                <a:solidFill>
                  <a:srgbClr val="000000"/>
                </a:solidFill>
                <a:effectLst/>
                <a:uLnTx/>
                <a:uFillTx/>
                <a:latin typeface="Segoe UI"/>
                <a:ea typeface="+mn-ea"/>
                <a:cs typeface="Segoe UI"/>
              </a:rPr>
              <a:t> di tenant</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69" name="Straight Connector 68">
            <a:extLst>
              <a:ext uri="{FF2B5EF4-FFF2-40B4-BE49-F238E27FC236}">
                <a16:creationId xmlns:a16="http://schemas.microsoft.com/office/drawing/2014/main" id="{018BC003-275B-B479-9E30-7AA6C914678B}"/>
              </a:ext>
              <a:ext uri="{C183D7F6-B498-43B3-948B-1728B52AA6E4}">
                <adec:decorative xmlns:adec="http://schemas.microsoft.com/office/drawing/2017/decorative" val="1"/>
              </a:ext>
            </a:extLst>
          </p:cNvPr>
          <p:cNvCxnSpPr>
            <a:cxnSpLocks/>
          </p:cNvCxnSpPr>
          <p:nvPr/>
        </p:nvCxnSpPr>
        <p:spPr>
          <a:xfrm>
            <a:off x="2214970" y="4415608"/>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D69F6F4-5B78-3D53-61BF-4576C3436129}"/>
              </a:ext>
              <a:ext uri="{C183D7F6-B498-43B3-948B-1728B52AA6E4}">
                <adec:decorative xmlns:adec="http://schemas.microsoft.com/office/drawing/2017/decorative" val="1"/>
              </a:ext>
            </a:extLst>
          </p:cNvPr>
          <p:cNvCxnSpPr>
            <a:cxnSpLocks/>
          </p:cNvCxnSpPr>
          <p:nvPr/>
        </p:nvCxnSpPr>
        <p:spPr>
          <a:xfrm>
            <a:off x="5044440" y="4415607"/>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238A9F-3F17-79F3-D7D4-0E4E815366BF}"/>
              </a:ext>
              <a:ext uri="{C183D7F6-B498-43B3-948B-1728B52AA6E4}">
                <adec:decorative xmlns:adec="http://schemas.microsoft.com/office/drawing/2017/decorative" val="1"/>
              </a:ext>
            </a:extLst>
          </p:cNvPr>
          <p:cNvCxnSpPr>
            <a:cxnSpLocks/>
          </p:cNvCxnSpPr>
          <p:nvPr/>
        </p:nvCxnSpPr>
        <p:spPr>
          <a:xfrm>
            <a:off x="7877255" y="4415608"/>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itle 7">
            <a:extLst>
              <a:ext uri="{FF2B5EF4-FFF2-40B4-BE49-F238E27FC236}">
                <a16:creationId xmlns:a16="http://schemas.microsoft.com/office/drawing/2014/main" id="{F75E31EA-A2A5-3D61-89C4-69FC62E2E1A9}"/>
              </a:ext>
            </a:extLst>
          </p:cNvPr>
          <p:cNvSpPr>
            <a:spLocks noGrp="1"/>
          </p:cNvSpPr>
          <p:nvPr>
            <p:ph type="title"/>
          </p:nvPr>
        </p:nvSpPr>
        <p:spPr>
          <a:xfrm>
            <a:off x="588263" y="485481"/>
            <a:ext cx="11018520" cy="1100686"/>
          </a:xfrm>
        </p:spPr>
        <p:txBody>
          <a:bodyPr/>
          <a:lstStyle/>
          <a:p>
            <a:r>
              <a:rPr lang="it-IT" dirty="0">
                <a:solidFill>
                  <a:srgbClr val="151E47"/>
                </a:solidFill>
                <a:latin typeface="Segoe Sans Display Semibold" pitchFamily="2" charset="0"/>
                <a:cs typeface="Segoe Sans Display Semibold" pitchFamily="2" charset="0"/>
              </a:rPr>
              <a:t>Come «nascono» gli agenti</a:t>
            </a:r>
            <a:endParaRPr lang="en-GB" dirty="0">
              <a:solidFill>
                <a:srgbClr val="151E47"/>
              </a:solidFill>
              <a:latin typeface="Segoe Sans Display Semibold" pitchFamily="2" charset="0"/>
              <a:cs typeface="Segoe Sans Display Semibold" pitchFamily="2" charset="0"/>
            </a:endParaRPr>
          </a:p>
        </p:txBody>
      </p:sp>
    </p:spTree>
    <p:extLst>
      <p:ext uri="{BB962C8B-B14F-4D97-AF65-F5344CB8AC3E}">
        <p14:creationId xmlns:p14="http://schemas.microsoft.com/office/powerpoint/2010/main" val="280656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barn(outVertical)">
                                      <p:cBhvr>
                                        <p:cTn id="7" dur="500"/>
                                        <p:tgtEl>
                                          <p:spTgt spid="39"/>
                                        </p:tgtEl>
                                      </p:cBhvr>
                                    </p:animEffect>
                                  </p:childTnLst>
                                </p:cTn>
                              </p:par>
                              <p:par>
                                <p:cTn id="8" presetID="16" presetClass="entr" presetSubtype="37"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barn(outVertical)">
                                      <p:cBhvr>
                                        <p:cTn id="10" dur="500"/>
                                        <p:tgtEl>
                                          <p:spTgt spid="40"/>
                                        </p:tgtEl>
                                      </p:cBhvr>
                                    </p:animEffect>
                                  </p:childTnLst>
                                </p:cTn>
                              </p:par>
                              <p:par>
                                <p:cTn id="11" presetID="16" presetClass="entr" presetSubtype="37"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barn(outVertical)">
                                      <p:cBhvr>
                                        <p:cTn id="13"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8335CBE-5E54-9837-9011-3E5875ED4CD7}"/>
              </a:ext>
            </a:extLst>
          </p:cNvPr>
          <p:cNvSpPr txBox="1"/>
          <p:nvPr/>
        </p:nvSpPr>
        <p:spPr>
          <a:xfrm>
            <a:off x="1199354" y="1918690"/>
            <a:ext cx="9793292" cy="707886"/>
          </a:xfrm>
          <a:prstGeom prst="rect">
            <a:avLst/>
          </a:prstGeom>
          <a:noFill/>
        </p:spPr>
        <p:txBody>
          <a:bodyPr wrap="square">
            <a:spAutoFit/>
          </a:bodyPr>
          <a:lstStyle/>
          <a:p>
            <a:pPr marR="0" lvl="0" algn="ctr" fontAlgn="base">
              <a:spcBef>
                <a:spcPts val="1205"/>
              </a:spcBef>
              <a:spcAft>
                <a:spcPct val="0"/>
              </a:spcAft>
              <a:buClrTx/>
              <a:buSzPct val="90000"/>
              <a:tabLst/>
              <a:defRPr/>
            </a:pPr>
            <a:r>
              <a:rPr lang="en-US" sz="2000" dirty="0" err="1"/>
              <a:t>Gli</a:t>
            </a:r>
            <a:r>
              <a:rPr lang="en-US" sz="2000" dirty="0"/>
              <a:t> </a:t>
            </a:r>
            <a:r>
              <a:rPr lang="en-US" sz="2000" dirty="0" err="1"/>
              <a:t>agenti</a:t>
            </a:r>
            <a:r>
              <a:rPr lang="en-US" sz="2000" dirty="0"/>
              <a:t> ci </a:t>
            </a:r>
            <a:r>
              <a:rPr lang="en-US" sz="2000" dirty="0" err="1"/>
              <a:t>consentono</a:t>
            </a:r>
            <a:r>
              <a:rPr lang="en-US" sz="2000" dirty="0"/>
              <a:t> di </a:t>
            </a:r>
            <a:r>
              <a:rPr lang="en-US" sz="2000" dirty="0" err="1"/>
              <a:t>usare</a:t>
            </a:r>
            <a:r>
              <a:rPr lang="en-US" sz="2000" dirty="0"/>
              <a:t> </a:t>
            </a:r>
            <a:r>
              <a:rPr lang="en-US" sz="2000" dirty="0" err="1"/>
              <a:t>l’IA</a:t>
            </a:r>
            <a:r>
              <a:rPr lang="en-US" sz="2000" dirty="0"/>
              <a:t> per </a:t>
            </a:r>
            <a:r>
              <a:rPr lang="en-US" sz="2000" dirty="0" err="1"/>
              <a:t>automatizzare</a:t>
            </a:r>
            <a:r>
              <a:rPr lang="en-US" sz="2000" dirty="0"/>
              <a:t> </a:t>
            </a:r>
            <a:r>
              <a:rPr lang="en-US" sz="2000" dirty="0" err="1"/>
              <a:t>processi</a:t>
            </a:r>
            <a:r>
              <a:rPr lang="en-US" sz="2000" dirty="0"/>
              <a:t> di business </a:t>
            </a:r>
            <a:r>
              <a:rPr lang="en-US" sz="2000" dirty="0" err="1"/>
              <a:t>complessi</a:t>
            </a:r>
            <a:r>
              <a:rPr lang="en-US" sz="2000" dirty="0"/>
              <a:t>, per </a:t>
            </a:r>
            <a:r>
              <a:rPr lang="en-US" sz="2000" dirty="0" err="1"/>
              <a:t>operare</a:t>
            </a:r>
            <a:r>
              <a:rPr lang="en-US" sz="2000" dirty="0"/>
              <a:t> al nostro </a:t>
            </a:r>
            <a:r>
              <a:rPr lang="en-US" sz="2000" dirty="0" err="1"/>
              <a:t>fianco</a:t>
            </a:r>
            <a:r>
              <a:rPr lang="en-US" sz="2000" dirty="0"/>
              <a:t> o </a:t>
            </a:r>
            <a:r>
              <a:rPr lang="en-US" sz="2000" dirty="0" err="1"/>
              <a:t>nel</a:t>
            </a:r>
            <a:r>
              <a:rPr lang="en-US" sz="2000" dirty="0"/>
              <a:t> nostro team, </a:t>
            </a:r>
            <a:r>
              <a:rPr lang="en-US" sz="2000" dirty="0" err="1"/>
              <a:t>anche</a:t>
            </a:r>
            <a:r>
              <a:rPr lang="en-US" sz="2000" dirty="0"/>
              <a:t> in maniera </a:t>
            </a:r>
            <a:r>
              <a:rPr lang="en-US" sz="2000" dirty="0" err="1"/>
              <a:t>autonoma</a:t>
            </a:r>
            <a:r>
              <a:rPr lang="en-US" sz="2000" dirty="0"/>
              <a:t>.</a:t>
            </a:r>
          </a:p>
        </p:txBody>
      </p:sp>
      <p:sp>
        <p:nvSpPr>
          <p:cNvPr id="4" name="Rectangle: Rounded Corners 3">
            <a:extLst>
              <a:ext uri="{FF2B5EF4-FFF2-40B4-BE49-F238E27FC236}">
                <a16:creationId xmlns:a16="http://schemas.microsoft.com/office/drawing/2014/main" id="{647B68FF-632A-BF6E-D108-BF30411E01DA}"/>
              </a:ext>
              <a:ext uri="{C183D7F6-B498-43B3-948B-1728B52AA6E4}">
                <adec:decorative xmlns:adec="http://schemas.microsoft.com/office/drawing/2017/decorative" val="1"/>
              </a:ext>
            </a:extLst>
          </p:cNvPr>
          <p:cNvSpPr/>
          <p:nvPr/>
        </p:nvSpPr>
        <p:spPr bwMode="auto">
          <a:xfrm>
            <a:off x="1932486" y="3441392"/>
            <a:ext cx="2668090" cy="2340583"/>
          </a:xfrm>
          <a:prstGeom prst="roundRect">
            <a:avLst>
              <a:gd name="adj" fmla="val 8183"/>
            </a:avLst>
          </a:prstGeom>
          <a:solidFill>
            <a:srgbClr val="F4364C">
              <a:alpha val="20000"/>
            </a:srgbClr>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p:nvSpPr>
          <p:cNvPr id="5" name="Rectangle: Rounded Corners 4">
            <a:extLst>
              <a:ext uri="{FF2B5EF4-FFF2-40B4-BE49-F238E27FC236}">
                <a16:creationId xmlns:a16="http://schemas.microsoft.com/office/drawing/2014/main" id="{AFDBCA39-C5E6-42C5-48FB-9A3E3EA8113D}"/>
              </a:ext>
              <a:ext uri="{C183D7F6-B498-43B3-948B-1728B52AA6E4}">
                <adec:decorative xmlns:adec="http://schemas.microsoft.com/office/drawing/2017/decorative" val="1"/>
              </a:ext>
            </a:extLst>
          </p:cNvPr>
          <p:cNvSpPr/>
          <p:nvPr/>
        </p:nvSpPr>
        <p:spPr bwMode="auto">
          <a:xfrm>
            <a:off x="7590813" y="2990518"/>
            <a:ext cx="2666458" cy="2791457"/>
          </a:xfrm>
          <a:prstGeom prst="roundRect">
            <a:avLst>
              <a:gd name="adj" fmla="val 7700"/>
            </a:avLst>
          </a:prstGeom>
          <a:solidFill>
            <a:srgbClr val="047EC4">
              <a:alpha val="20000"/>
            </a:srgbClr>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err="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p:nvSpPr>
          <p:cNvPr id="6" name="Rectangle: Rounded Corners 5">
            <a:extLst>
              <a:ext uri="{FF2B5EF4-FFF2-40B4-BE49-F238E27FC236}">
                <a16:creationId xmlns:a16="http://schemas.microsoft.com/office/drawing/2014/main" id="{AE2DDA54-3964-7891-0672-94CB906C5C80}"/>
              </a:ext>
              <a:ext uri="{C183D7F6-B498-43B3-948B-1728B52AA6E4}">
                <adec:decorative xmlns:adec="http://schemas.microsoft.com/office/drawing/2017/decorative" val="1"/>
              </a:ext>
            </a:extLst>
          </p:cNvPr>
          <p:cNvSpPr/>
          <p:nvPr/>
        </p:nvSpPr>
        <p:spPr bwMode="auto">
          <a:xfrm>
            <a:off x="4761956" y="3238499"/>
            <a:ext cx="2668090" cy="2543476"/>
          </a:xfrm>
          <a:prstGeom prst="roundRect">
            <a:avLst>
              <a:gd name="adj" fmla="val 8183"/>
            </a:avLst>
          </a:prstGeom>
          <a:solidFill>
            <a:srgbClr val="C03BC4">
              <a:alpha val="20000"/>
            </a:srgbClr>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err="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grpSp>
        <p:nvGrpSpPr>
          <p:cNvPr id="7" name="Group 6" descr="Simple to advanced bar">
            <a:extLst>
              <a:ext uri="{FF2B5EF4-FFF2-40B4-BE49-F238E27FC236}">
                <a16:creationId xmlns:a16="http://schemas.microsoft.com/office/drawing/2014/main" id="{E572C6DC-D417-8875-F302-CFDC49BDC497}"/>
              </a:ext>
            </a:extLst>
          </p:cNvPr>
          <p:cNvGrpSpPr/>
          <p:nvPr/>
        </p:nvGrpSpPr>
        <p:grpSpPr>
          <a:xfrm>
            <a:off x="571301" y="4171310"/>
            <a:ext cx="11049399" cy="523220"/>
            <a:chOff x="571301" y="3700042"/>
            <a:chExt cx="11049399" cy="523220"/>
          </a:xfrm>
        </p:grpSpPr>
        <p:sp>
          <p:nvSpPr>
            <p:cNvPr id="8" name="Rectangle: Rounded Corners 7">
              <a:extLst>
                <a:ext uri="{FF2B5EF4-FFF2-40B4-BE49-F238E27FC236}">
                  <a16:creationId xmlns:a16="http://schemas.microsoft.com/office/drawing/2014/main" id="{F4E121FC-4B15-2408-0E4D-C59E05D0323C}"/>
                </a:ext>
              </a:extLst>
            </p:cNvPr>
            <p:cNvSpPr/>
            <p:nvPr/>
          </p:nvSpPr>
          <p:spPr bwMode="auto">
            <a:xfrm>
              <a:off x="571301" y="3700042"/>
              <a:ext cx="11049399" cy="523220"/>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w="3175">
                  <a:noFill/>
                </a:ln>
                <a:solidFill>
                  <a:srgbClr val="FEFFFE"/>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6E87D506-71ED-9716-B6B4-480B3C0DE58B}"/>
                </a:ext>
              </a:extLst>
            </p:cNvPr>
            <p:cNvSpPr txBox="1"/>
            <p:nvPr/>
          </p:nvSpPr>
          <p:spPr>
            <a:xfrm>
              <a:off x="775462" y="3853930"/>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Semplice</a:t>
              </a:r>
            </a:p>
          </p:txBody>
        </p:sp>
        <p:sp>
          <p:nvSpPr>
            <p:cNvPr id="10" name="TextBox 9">
              <a:extLst>
                <a:ext uri="{FF2B5EF4-FFF2-40B4-BE49-F238E27FC236}">
                  <a16:creationId xmlns:a16="http://schemas.microsoft.com/office/drawing/2014/main" id="{BE35D4D1-C902-6195-2F4C-17040E8311CD}"/>
                </a:ext>
              </a:extLst>
            </p:cNvPr>
            <p:cNvSpPr txBox="1"/>
            <p:nvPr/>
          </p:nvSpPr>
          <p:spPr>
            <a:xfrm>
              <a:off x="10183129" y="3853930"/>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Avanzato</a:t>
              </a:r>
            </a:p>
          </p:txBody>
        </p:sp>
      </p:grpSp>
      <p:grpSp>
        <p:nvGrpSpPr>
          <p:cNvPr id="11" name="Group 10">
            <a:extLst>
              <a:ext uri="{FF2B5EF4-FFF2-40B4-BE49-F238E27FC236}">
                <a16:creationId xmlns:a16="http://schemas.microsoft.com/office/drawing/2014/main" id="{DD1F63C5-7B11-B7CC-B1DC-FAA1C1DE1842}"/>
              </a:ext>
              <a:ext uri="{C183D7F6-B498-43B3-948B-1728B52AA6E4}">
                <adec:decorative xmlns:adec="http://schemas.microsoft.com/office/drawing/2017/decorative" val="1"/>
              </a:ext>
            </a:extLst>
          </p:cNvPr>
          <p:cNvGrpSpPr/>
          <p:nvPr/>
        </p:nvGrpSpPr>
        <p:grpSpPr>
          <a:xfrm>
            <a:off x="2815919" y="3982311"/>
            <a:ext cx="901222" cy="901219"/>
            <a:chOff x="2770858" y="3465982"/>
            <a:chExt cx="991344" cy="991341"/>
          </a:xfrm>
          <a:effectLst>
            <a:outerShdw blurRad="190500" sx="104000" sy="104000" algn="ctr" rotWithShape="0">
              <a:prstClr val="black">
                <a:alpha val="40000"/>
              </a:prstClr>
            </a:outerShdw>
          </a:effectLst>
        </p:grpSpPr>
        <p:sp>
          <p:nvSpPr>
            <p:cNvPr id="12" name="Oval 11">
              <a:extLst>
                <a:ext uri="{FF2B5EF4-FFF2-40B4-BE49-F238E27FC236}">
                  <a16:creationId xmlns:a16="http://schemas.microsoft.com/office/drawing/2014/main" id="{F22B24E8-F73D-3C2E-569C-AE98EE5D64CE}"/>
                </a:ext>
              </a:extLst>
            </p:cNvPr>
            <p:cNvSpPr>
              <a:spLocks/>
            </p:cNvSpPr>
            <p:nvPr/>
          </p:nvSpPr>
          <p:spPr bwMode="auto">
            <a:xfrm>
              <a:off x="2770858" y="3465982"/>
              <a:ext cx="991344" cy="991341"/>
            </a:xfrm>
            <a:prstGeom prst="ellipse">
              <a:avLst/>
            </a:prstGeom>
            <a:gradFill flip="none" rotWithShape="1">
              <a:gsLst>
                <a:gs pos="2797">
                  <a:srgbClr val="FFA38B"/>
                </a:gs>
                <a:gs pos="42000">
                  <a:srgbClr val="FF5C39"/>
                </a:gs>
                <a:gs pos="100000">
                  <a:srgbClr val="73391D"/>
                </a:gs>
              </a:gsLst>
              <a:path path="circle">
                <a:fillToRect r="100000" b="100000"/>
              </a:path>
              <a:tileRect l="-100000" t="-100000"/>
            </a:gra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endParaRPr lang="en-US" sz="700">
                <a:solidFill>
                  <a:srgbClr val="FFFFFF"/>
                </a:solidFill>
                <a:latin typeface="Segoe UI"/>
                <a:sym typeface="Rubik Light"/>
              </a:endParaRPr>
            </a:p>
          </p:txBody>
        </p:sp>
        <p:sp>
          <p:nvSpPr>
            <p:cNvPr id="13" name="Graphic 10">
              <a:extLst>
                <a:ext uri="{FF2B5EF4-FFF2-40B4-BE49-F238E27FC236}">
                  <a16:creationId xmlns:a16="http://schemas.microsoft.com/office/drawing/2014/main" id="{5421CC63-062F-8AB3-1F69-CB9AF00C1C0E}"/>
                </a:ext>
              </a:extLst>
            </p:cNvPr>
            <p:cNvSpPr/>
            <p:nvPr/>
          </p:nvSpPr>
          <p:spPr>
            <a:xfrm>
              <a:off x="3073659" y="3788615"/>
              <a:ext cx="385742" cy="346074"/>
            </a:xfrm>
            <a:custGeom>
              <a:avLst/>
              <a:gdLst>
                <a:gd name="connsiteX0" fmla="*/ 131922 w 352872"/>
                <a:gd name="connsiteY0" fmla="*/ 0 h 316585"/>
                <a:gd name="connsiteX1" fmla="*/ 0 w 352872"/>
                <a:gd name="connsiteY1" fmla="*/ 131844 h 316585"/>
                <a:gd name="connsiteX2" fmla="*/ 12400 w 352872"/>
                <a:gd name="connsiteY2" fmla="*/ 187714 h 316585"/>
                <a:gd name="connsiteX3" fmla="*/ 425 w 352872"/>
                <a:gd name="connsiteY3" fmla="*/ 242964 h 316585"/>
                <a:gd name="connsiteX4" fmla="*/ 14287 w 352872"/>
                <a:gd name="connsiteY4" fmla="*/ 263490 h 316585"/>
                <a:gd name="connsiteX5" fmla="*/ 20700 w 352872"/>
                <a:gd name="connsiteY5" fmla="*/ 263538 h 316585"/>
                <a:gd name="connsiteX6" fmla="*/ 77603 w 352872"/>
                <a:gd name="connsiteY6" fmla="*/ 252108 h 316585"/>
                <a:gd name="connsiteX7" fmla="*/ 252043 w 352872"/>
                <a:gd name="connsiteY7" fmla="*/ 186098 h 316585"/>
                <a:gd name="connsiteX8" fmla="*/ 186032 w 352872"/>
                <a:gd name="connsiteY8" fmla="*/ 11658 h 316585"/>
                <a:gd name="connsiteX9" fmla="*/ 131922 w 352872"/>
                <a:gd name="connsiteY9" fmla="*/ 0 h 316585"/>
                <a:gd name="connsiteX10" fmla="*/ 131253 w 352872"/>
                <a:gd name="connsiteY10" fmla="*/ 281351 h 316585"/>
                <a:gd name="connsiteX11" fmla="*/ 220934 w 352872"/>
                <a:gd name="connsiteY11" fmla="*/ 316520 h 316585"/>
                <a:gd name="connsiteX12" fmla="*/ 275235 w 352872"/>
                <a:gd name="connsiteY12" fmla="*/ 304861 h 316585"/>
                <a:gd name="connsiteX13" fmla="*/ 326458 w 352872"/>
                <a:gd name="connsiteY13" fmla="*/ 316115 h 316585"/>
                <a:gd name="connsiteX14" fmla="*/ 352360 w 352872"/>
                <a:gd name="connsiteY14" fmla="*/ 299199 h 316585"/>
                <a:gd name="connsiteX15" fmla="*/ 352254 w 352872"/>
                <a:gd name="connsiteY15" fmla="*/ 289738 h 316585"/>
                <a:gd name="connsiteX16" fmla="*/ 340455 w 352872"/>
                <a:gd name="connsiteY16" fmla="*/ 240449 h 316585"/>
                <a:gd name="connsiteX17" fmla="*/ 276715 w 352872"/>
                <a:gd name="connsiteY17" fmla="*/ 65088 h 316585"/>
                <a:gd name="connsiteX18" fmla="*/ 264069 w 352872"/>
                <a:gd name="connsiteY18" fmla="*/ 59963 h 316585"/>
                <a:gd name="connsiteX19" fmla="*/ 278136 w 352872"/>
                <a:gd name="connsiteY19" fmla="*/ 95976 h 316585"/>
                <a:gd name="connsiteX20" fmla="*/ 326440 w 352872"/>
                <a:gd name="connsiteY20" fmla="*/ 184636 h 316585"/>
                <a:gd name="connsiteX21" fmla="*/ 314747 w 352872"/>
                <a:gd name="connsiteY21" fmla="*/ 232941 h 316585"/>
                <a:gd name="connsiteX22" fmla="*/ 312461 w 352872"/>
                <a:gd name="connsiteY22" fmla="*/ 237390 h 316585"/>
                <a:gd name="connsiteX23" fmla="*/ 313692 w 352872"/>
                <a:gd name="connsiteY23" fmla="*/ 242243 h 316585"/>
                <a:gd name="connsiteX24" fmla="*/ 324981 w 352872"/>
                <a:gd name="connsiteY24" fmla="*/ 288842 h 316585"/>
                <a:gd name="connsiteX25" fmla="*/ 276800 w 352872"/>
                <a:gd name="connsiteY25" fmla="*/ 278115 h 316585"/>
                <a:gd name="connsiteX26" fmla="*/ 272157 w 352872"/>
                <a:gd name="connsiteY26" fmla="*/ 277025 h 316585"/>
                <a:gd name="connsiteX27" fmla="*/ 267884 w 352872"/>
                <a:gd name="connsiteY27" fmla="*/ 279153 h 316585"/>
                <a:gd name="connsiteX28" fmla="*/ 220934 w 352872"/>
                <a:gd name="connsiteY28" fmla="*/ 290143 h 316585"/>
                <a:gd name="connsiteX29" fmla="*/ 169587 w 352872"/>
                <a:gd name="connsiteY29" fmla="*/ 276849 h 316585"/>
                <a:gd name="connsiteX30" fmla="*/ 131253 w 352872"/>
                <a:gd name="connsiteY30" fmla="*/ 281351 h 31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2872" h="316585">
                  <a:moveTo>
                    <a:pt x="131922" y="0"/>
                  </a:moveTo>
                  <a:cubicBezTo>
                    <a:pt x="59085" y="-21"/>
                    <a:pt x="21" y="59008"/>
                    <a:pt x="0" y="131844"/>
                  </a:cubicBezTo>
                  <a:cubicBezTo>
                    <a:pt x="-6" y="151150"/>
                    <a:pt x="4227" y="170222"/>
                    <a:pt x="12400" y="187714"/>
                  </a:cubicBezTo>
                  <a:cubicBezTo>
                    <a:pt x="7974" y="206033"/>
                    <a:pt x="3982" y="224456"/>
                    <a:pt x="425" y="242964"/>
                  </a:cubicBezTo>
                  <a:cubicBezTo>
                    <a:pt x="-1415" y="252459"/>
                    <a:pt x="4791" y="261651"/>
                    <a:pt x="14287" y="263490"/>
                  </a:cubicBezTo>
                  <a:cubicBezTo>
                    <a:pt x="16403" y="263902"/>
                    <a:pt x="18578" y="263918"/>
                    <a:pt x="20700" y="263538"/>
                  </a:cubicBezTo>
                  <a:cubicBezTo>
                    <a:pt x="31655" y="261603"/>
                    <a:pt x="55482" y="257207"/>
                    <a:pt x="77603" y="252108"/>
                  </a:cubicBezTo>
                  <a:cubicBezTo>
                    <a:pt x="144002" y="282049"/>
                    <a:pt x="222100" y="252496"/>
                    <a:pt x="252043" y="186098"/>
                  </a:cubicBezTo>
                  <a:cubicBezTo>
                    <a:pt x="281984" y="119699"/>
                    <a:pt x="252429" y="41600"/>
                    <a:pt x="186032" y="11658"/>
                  </a:cubicBezTo>
                  <a:cubicBezTo>
                    <a:pt x="169023" y="3988"/>
                    <a:pt x="150580" y="15"/>
                    <a:pt x="131922" y="0"/>
                  </a:cubicBezTo>
                  <a:close/>
                  <a:moveTo>
                    <a:pt x="131253" y="281351"/>
                  </a:moveTo>
                  <a:cubicBezTo>
                    <a:pt x="155618" y="304003"/>
                    <a:pt x="187666" y="316571"/>
                    <a:pt x="220934" y="316520"/>
                  </a:cubicBezTo>
                  <a:cubicBezTo>
                    <a:pt x="240277" y="316520"/>
                    <a:pt x="258653" y="312352"/>
                    <a:pt x="275235" y="304861"/>
                  </a:cubicBezTo>
                  <a:cubicBezTo>
                    <a:pt x="293575" y="309152"/>
                    <a:pt x="313674" y="313442"/>
                    <a:pt x="326458" y="316115"/>
                  </a:cubicBezTo>
                  <a:cubicBezTo>
                    <a:pt x="338282" y="318596"/>
                    <a:pt x="349879" y="311023"/>
                    <a:pt x="352360" y="299199"/>
                  </a:cubicBezTo>
                  <a:cubicBezTo>
                    <a:pt x="353016" y="296076"/>
                    <a:pt x="352979" y="292847"/>
                    <a:pt x="352254" y="289738"/>
                  </a:cubicBezTo>
                  <a:cubicBezTo>
                    <a:pt x="349406" y="277377"/>
                    <a:pt x="344904" y="258174"/>
                    <a:pt x="340455" y="240449"/>
                  </a:cubicBezTo>
                  <a:cubicBezTo>
                    <a:pt x="371279" y="174423"/>
                    <a:pt x="342741" y="95912"/>
                    <a:pt x="276715" y="65088"/>
                  </a:cubicBezTo>
                  <a:cubicBezTo>
                    <a:pt x="272592" y="63163"/>
                    <a:pt x="268370" y="61452"/>
                    <a:pt x="264069" y="59963"/>
                  </a:cubicBezTo>
                  <a:cubicBezTo>
                    <a:pt x="270308" y="71302"/>
                    <a:pt x="275038" y="83409"/>
                    <a:pt x="278136" y="95976"/>
                  </a:cubicBezTo>
                  <a:cubicBezTo>
                    <a:pt x="308263" y="115395"/>
                    <a:pt x="326460" y="148792"/>
                    <a:pt x="326440" y="184636"/>
                  </a:cubicBezTo>
                  <a:cubicBezTo>
                    <a:pt x="326440" y="202080"/>
                    <a:pt x="322220" y="218486"/>
                    <a:pt x="314747" y="232941"/>
                  </a:cubicBezTo>
                  <a:lnTo>
                    <a:pt x="312461" y="237390"/>
                  </a:lnTo>
                  <a:lnTo>
                    <a:pt x="313692" y="242243"/>
                  </a:lnTo>
                  <a:cubicBezTo>
                    <a:pt x="317701" y="257981"/>
                    <a:pt x="321904" y="275653"/>
                    <a:pt x="324981" y="288842"/>
                  </a:cubicBezTo>
                  <a:cubicBezTo>
                    <a:pt x="311371" y="285975"/>
                    <a:pt x="293012" y="281984"/>
                    <a:pt x="276800" y="278115"/>
                  </a:cubicBezTo>
                  <a:lnTo>
                    <a:pt x="272157" y="277025"/>
                  </a:lnTo>
                  <a:lnTo>
                    <a:pt x="267884" y="279153"/>
                  </a:lnTo>
                  <a:cubicBezTo>
                    <a:pt x="253746" y="286186"/>
                    <a:pt x="237815" y="290143"/>
                    <a:pt x="220934" y="290143"/>
                  </a:cubicBezTo>
                  <a:cubicBezTo>
                    <a:pt x="202963" y="290176"/>
                    <a:pt x="185283" y="285599"/>
                    <a:pt x="169587" y="276849"/>
                  </a:cubicBezTo>
                  <a:cubicBezTo>
                    <a:pt x="157057" y="279997"/>
                    <a:pt x="144173" y="281511"/>
                    <a:pt x="131253" y="281351"/>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grpSp>
      <p:sp>
        <p:nvSpPr>
          <p:cNvPr id="14" name="TextBox 13">
            <a:extLst>
              <a:ext uri="{FF2B5EF4-FFF2-40B4-BE49-F238E27FC236}">
                <a16:creationId xmlns:a16="http://schemas.microsoft.com/office/drawing/2014/main" id="{648FA684-C399-6F65-7B61-A9672A068D9A}"/>
              </a:ext>
            </a:extLst>
          </p:cNvPr>
          <p:cNvSpPr txBox="1"/>
          <p:nvPr/>
        </p:nvSpPr>
        <p:spPr>
          <a:xfrm>
            <a:off x="2366577" y="5192768"/>
            <a:ext cx="1799906" cy="492443"/>
          </a:xfrm>
          <a:prstGeom prst="rect">
            <a:avLst/>
          </a:prstGeom>
        </p:spPr>
        <p:txBody>
          <a:bodyPr wrap="square" lIns="0" tIns="0" rIns="0" bIns="0" anchor="t">
            <a:spAutoFit/>
          </a:bodyPr>
          <a:lstStyle/>
          <a:p>
            <a:pPr marL="0" marR="0" lvl="0" indent="0" algn="ctr" defTabSz="932742" fontAlgn="base">
              <a:spcBef>
                <a:spcPct val="0"/>
              </a:spcBef>
              <a:spcAft>
                <a:spcPts val="1200"/>
              </a:spcAft>
              <a:buClrTx/>
              <a:buSzTx/>
              <a:tabLst/>
              <a:defRPr/>
            </a:pPr>
            <a:r>
              <a:rPr lang="en-US" sz="1600" b="1" spc="-50" dirty="0" err="1">
                <a:ln w="3175">
                  <a:noFill/>
                </a:ln>
                <a:latin typeface="Segoe UI Semibold" panose="020B0702040204020203" pitchFamily="34" charset="0"/>
                <a:cs typeface="Segoe UI Semibold" panose="020B0702040204020203" pitchFamily="34" charset="0"/>
              </a:rPr>
              <a:t>Raccolta</a:t>
            </a:r>
            <a:r>
              <a:rPr lang="en-US" sz="1600" b="1" spc="-50" dirty="0">
                <a:ln w="3175">
                  <a:noFill/>
                </a:ln>
                <a:latin typeface="Segoe UI Semibold" panose="020B0702040204020203" pitchFamily="34" charset="0"/>
                <a:cs typeface="Segoe UI Semibold" panose="020B0702040204020203" pitchFamily="34" charset="0"/>
              </a:rPr>
              <a:t> </a:t>
            </a:r>
            <a:r>
              <a:rPr lang="en-US" sz="1600" b="1" spc="-50" dirty="0" err="1">
                <a:ln w="3175">
                  <a:noFill/>
                </a:ln>
                <a:latin typeface="Segoe UI Semibold" panose="020B0702040204020203" pitchFamily="34" charset="0"/>
                <a:cs typeface="Segoe UI Semibold" panose="020B0702040204020203" pitchFamily="34" charset="0"/>
              </a:rPr>
              <a:t>dati</a:t>
            </a:r>
            <a:r>
              <a:rPr lang="en-US" sz="1600" b="1" spc="-50" dirty="0">
                <a:ln w="3175">
                  <a:noFill/>
                </a:ln>
                <a:latin typeface="Segoe UI Semibold" panose="020B0702040204020203" pitchFamily="34" charset="0"/>
                <a:cs typeface="Segoe UI Semibold" panose="020B0702040204020203" pitchFamily="34" charset="0"/>
              </a:rPr>
              <a:t> da </a:t>
            </a:r>
            <a:r>
              <a:rPr lang="en-US" sz="1600" b="1" spc="-50" dirty="0" err="1">
                <a:ln w="3175">
                  <a:noFill/>
                </a:ln>
                <a:latin typeface="Segoe UI Semibold" panose="020B0702040204020203" pitchFamily="34" charset="0"/>
                <a:cs typeface="Segoe UI Semibold" panose="020B0702040204020203" pitchFamily="34" charset="0"/>
              </a:rPr>
              <a:t>fonti</a:t>
            </a:r>
            <a:r>
              <a:rPr lang="en-US" sz="1600" b="1" spc="-50" dirty="0">
                <a:ln w="3175">
                  <a:noFill/>
                </a:ln>
                <a:latin typeface="Segoe UI Semibold" panose="020B0702040204020203" pitchFamily="34" charset="0"/>
                <a:cs typeface="Segoe UI Semibold" panose="020B0702040204020203" pitchFamily="34" charset="0"/>
              </a:rPr>
              <a:t> note</a:t>
            </a:r>
          </a:p>
        </p:txBody>
      </p:sp>
      <p:grpSp>
        <p:nvGrpSpPr>
          <p:cNvPr id="15" name="Group 14">
            <a:extLst>
              <a:ext uri="{FF2B5EF4-FFF2-40B4-BE49-F238E27FC236}">
                <a16:creationId xmlns:a16="http://schemas.microsoft.com/office/drawing/2014/main" id="{2442CC93-8BEA-E68E-1321-41700D3D222D}"/>
              </a:ext>
              <a:ext uri="{C183D7F6-B498-43B3-948B-1728B52AA6E4}">
                <adec:decorative xmlns:adec="http://schemas.microsoft.com/office/drawing/2017/decorative" val="1"/>
              </a:ext>
            </a:extLst>
          </p:cNvPr>
          <p:cNvGrpSpPr/>
          <p:nvPr/>
        </p:nvGrpSpPr>
        <p:grpSpPr>
          <a:xfrm>
            <a:off x="5645389" y="3982311"/>
            <a:ext cx="901222" cy="901219"/>
            <a:chOff x="5645389" y="3511043"/>
            <a:chExt cx="901222" cy="901219"/>
          </a:xfrm>
          <a:effectLst>
            <a:outerShdw blurRad="190500" sx="104000" sy="104000" algn="ctr" rotWithShape="0">
              <a:prstClr val="black">
                <a:alpha val="40000"/>
              </a:prstClr>
            </a:outerShdw>
          </a:effectLst>
        </p:grpSpPr>
        <p:sp>
          <p:nvSpPr>
            <p:cNvPr id="16" name="Oval 15">
              <a:extLst>
                <a:ext uri="{FF2B5EF4-FFF2-40B4-BE49-F238E27FC236}">
                  <a16:creationId xmlns:a16="http://schemas.microsoft.com/office/drawing/2014/main" id="{7D73D006-529D-DFBE-F474-A2D486F50B7C}"/>
                </a:ext>
              </a:extLst>
            </p:cNvPr>
            <p:cNvSpPr>
              <a:spLocks/>
            </p:cNvSpPr>
            <p:nvPr/>
          </p:nvSpPr>
          <p:spPr bwMode="auto">
            <a:xfrm>
              <a:off x="5645389" y="3511043"/>
              <a:ext cx="901222" cy="901219"/>
            </a:xfrm>
            <a:prstGeom prst="ellipse">
              <a:avLst/>
            </a:prstGeom>
            <a:gradFill flip="none" rotWithShape="1">
              <a:gsLst>
                <a:gs pos="4196">
                  <a:srgbClr val="D59ED7"/>
                </a:gs>
                <a:gs pos="41000">
                  <a:srgbClr val="C03BC4"/>
                </a:gs>
                <a:gs pos="99000">
                  <a:srgbClr val="702573"/>
                </a:gs>
              </a:gsLst>
              <a:path path="circle">
                <a:fillToRect r="100000" b="100000"/>
              </a:path>
              <a:tileRect l="-100000" t="-100000"/>
            </a:gradFill>
            <a:ln w="12700"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pic>
          <p:nvPicPr>
            <p:cNvPr id="17" name="Graphic 16">
              <a:extLst>
                <a:ext uri="{FF2B5EF4-FFF2-40B4-BE49-F238E27FC236}">
                  <a16:creationId xmlns:a16="http://schemas.microsoft.com/office/drawing/2014/main" id="{16B68D7A-477C-F799-9610-6BACECE26EE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903188" y="3761587"/>
              <a:ext cx="385625" cy="385625"/>
            </a:xfrm>
            <a:prstGeom prst="rect">
              <a:avLst/>
            </a:prstGeom>
          </p:spPr>
        </p:pic>
      </p:grpSp>
      <p:sp>
        <p:nvSpPr>
          <p:cNvPr id="18" name="TextBox 17">
            <a:extLst>
              <a:ext uri="{FF2B5EF4-FFF2-40B4-BE49-F238E27FC236}">
                <a16:creationId xmlns:a16="http://schemas.microsoft.com/office/drawing/2014/main" id="{6838F186-FF42-DDBA-349E-2B238FE2D78F}"/>
              </a:ext>
            </a:extLst>
          </p:cNvPr>
          <p:cNvSpPr txBox="1"/>
          <p:nvPr/>
        </p:nvSpPr>
        <p:spPr>
          <a:xfrm>
            <a:off x="5006975" y="5192768"/>
            <a:ext cx="2178050" cy="307777"/>
          </a:xfrm>
          <a:prstGeom prst="rect">
            <a:avLst/>
          </a:prstGeom>
        </p:spPr>
        <p:txBody>
          <a:bodyPr wrap="square" lIns="0" tIns="0" rIns="0" bIns="0">
            <a:spAutoFit/>
          </a:bodyPr>
          <a:lstStyle/>
          <a:p>
            <a:pPr algn="ctr" defTabSz="932742" fontAlgn="base">
              <a:lnSpc>
                <a:spcPct val="100000"/>
              </a:lnSpc>
              <a:spcBef>
                <a:spcPct val="0"/>
              </a:spcBef>
              <a:spcAft>
                <a:spcPts val="1200"/>
              </a:spcAft>
              <a:buFontTx/>
              <a:buNone/>
              <a:defRPr/>
            </a:pPr>
            <a:r>
              <a:rPr lang="en-US" sz="2000" b="1" spc="-50" dirty="0" err="1">
                <a:ln w="3175">
                  <a:noFill/>
                </a:ln>
                <a:latin typeface="Segoe UI Semibold" panose="020B0702040204020203" pitchFamily="34" charset="0"/>
                <a:cs typeface="Segoe UI Semibold" panose="020B0702040204020203" pitchFamily="34" charset="0"/>
              </a:rPr>
              <a:t>Esecuzione</a:t>
            </a:r>
            <a:r>
              <a:rPr lang="en-US" sz="2000" b="1" spc="-50" dirty="0">
                <a:ln w="3175">
                  <a:noFill/>
                </a:ln>
                <a:latin typeface="Segoe UI Semibold" panose="020B0702040204020203" pitchFamily="34" charset="0"/>
                <a:cs typeface="Segoe UI Semibold" panose="020B0702040204020203" pitchFamily="34" charset="0"/>
              </a:rPr>
              <a:t> task</a:t>
            </a:r>
          </a:p>
        </p:txBody>
      </p:sp>
      <p:grpSp>
        <p:nvGrpSpPr>
          <p:cNvPr id="19" name="Group 18">
            <a:extLst>
              <a:ext uri="{FF2B5EF4-FFF2-40B4-BE49-F238E27FC236}">
                <a16:creationId xmlns:a16="http://schemas.microsoft.com/office/drawing/2014/main" id="{C2F19A83-0F45-9B70-6E34-7173F6A49D38}"/>
              </a:ext>
              <a:ext uri="{C183D7F6-B498-43B3-948B-1728B52AA6E4}">
                <adec:decorative xmlns:adec="http://schemas.microsoft.com/office/drawing/2017/decorative" val="1"/>
              </a:ext>
            </a:extLst>
          </p:cNvPr>
          <p:cNvGrpSpPr/>
          <p:nvPr/>
        </p:nvGrpSpPr>
        <p:grpSpPr>
          <a:xfrm>
            <a:off x="8473430" y="3982311"/>
            <a:ext cx="901222" cy="901219"/>
            <a:chOff x="8428369" y="3465982"/>
            <a:chExt cx="991344" cy="991341"/>
          </a:xfrm>
          <a:effectLst>
            <a:outerShdw blurRad="190500" sx="104000" sy="104000" algn="ctr" rotWithShape="0">
              <a:prstClr val="black">
                <a:alpha val="40000"/>
              </a:prstClr>
            </a:outerShdw>
          </a:effectLst>
        </p:grpSpPr>
        <p:sp>
          <p:nvSpPr>
            <p:cNvPr id="20" name="Oval 19">
              <a:extLst>
                <a:ext uri="{FF2B5EF4-FFF2-40B4-BE49-F238E27FC236}">
                  <a16:creationId xmlns:a16="http://schemas.microsoft.com/office/drawing/2014/main" id="{C14CE74B-6E71-5CB9-615E-A8C5A1367FF8}"/>
                </a:ext>
              </a:extLst>
            </p:cNvPr>
            <p:cNvSpPr>
              <a:spLocks/>
            </p:cNvSpPr>
            <p:nvPr/>
          </p:nvSpPr>
          <p:spPr bwMode="auto">
            <a:xfrm>
              <a:off x="8428369" y="3465982"/>
              <a:ext cx="991344" cy="991341"/>
            </a:xfrm>
            <a:prstGeom prst="ellipse">
              <a:avLst/>
            </a:prstGeom>
            <a:gradFill flip="none" rotWithShape="1">
              <a:gsLst>
                <a:gs pos="699">
                  <a:srgbClr val="8DC8E8"/>
                </a:gs>
                <a:gs pos="38000">
                  <a:srgbClr val="0078D4"/>
                </a:gs>
                <a:gs pos="100000">
                  <a:schemeClr val="accent6">
                    <a:lumMod val="75000"/>
                  </a:schemeClr>
                </a:gs>
              </a:gsLst>
              <a:path path="circle">
                <a:fillToRect r="100000" b="100000"/>
              </a:path>
              <a:tileRect l="-100000" t="-100000"/>
            </a:gradFill>
            <a:ln w="12700"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sp>
          <p:nvSpPr>
            <p:cNvPr id="21" name="Graphic 12">
              <a:extLst>
                <a:ext uri="{FF2B5EF4-FFF2-40B4-BE49-F238E27FC236}">
                  <a16:creationId xmlns:a16="http://schemas.microsoft.com/office/drawing/2014/main" id="{63F6099B-6CA4-4118-65FE-025272E5E308}"/>
                </a:ext>
              </a:extLst>
            </p:cNvPr>
            <p:cNvSpPr/>
            <p:nvPr/>
          </p:nvSpPr>
          <p:spPr>
            <a:xfrm>
              <a:off x="8744079" y="3774239"/>
              <a:ext cx="359924" cy="374826"/>
            </a:xfrm>
            <a:custGeom>
              <a:avLst/>
              <a:gdLst>
                <a:gd name="connsiteX0" fmla="*/ 164812 w 329254"/>
                <a:gd name="connsiteY0" fmla="*/ 0 h 342886"/>
                <a:gd name="connsiteX1" fmla="*/ 203181 w 329254"/>
                <a:gd name="connsiteY1" fmla="*/ 4449 h 342886"/>
                <a:gd name="connsiteX2" fmla="*/ 213415 w 329254"/>
                <a:gd name="connsiteY2" fmla="*/ 15861 h 342886"/>
                <a:gd name="connsiteX3" fmla="*/ 216405 w 329254"/>
                <a:gd name="connsiteY3" fmla="*/ 42713 h 342886"/>
                <a:gd name="connsiteX4" fmla="*/ 243288 w 329254"/>
                <a:gd name="connsiteY4" fmla="*/ 64203 h 342886"/>
                <a:gd name="connsiteX5" fmla="*/ 250290 w 329254"/>
                <a:gd name="connsiteY5" fmla="*/ 62337 h 342886"/>
                <a:gd name="connsiteX6" fmla="*/ 274926 w 329254"/>
                <a:gd name="connsiteY6" fmla="*/ 51522 h 342886"/>
                <a:gd name="connsiteX7" fmla="*/ 289872 w 329254"/>
                <a:gd name="connsiteY7" fmla="*/ 54582 h 342886"/>
                <a:gd name="connsiteX8" fmla="*/ 328628 w 329254"/>
                <a:gd name="connsiteY8" fmla="*/ 121262 h 342886"/>
                <a:gd name="connsiteX9" fmla="*/ 323863 w 329254"/>
                <a:gd name="connsiteY9" fmla="*/ 135769 h 342886"/>
                <a:gd name="connsiteX10" fmla="*/ 302023 w 329254"/>
                <a:gd name="connsiteY10" fmla="*/ 151877 h 342886"/>
                <a:gd name="connsiteX11" fmla="*/ 296829 w 329254"/>
                <a:gd name="connsiteY11" fmla="*/ 185825 h 342886"/>
                <a:gd name="connsiteX12" fmla="*/ 302023 w 329254"/>
                <a:gd name="connsiteY12" fmla="*/ 191020 h 342886"/>
                <a:gd name="connsiteX13" fmla="*/ 323881 w 329254"/>
                <a:gd name="connsiteY13" fmla="*/ 207109 h 342886"/>
                <a:gd name="connsiteX14" fmla="*/ 328664 w 329254"/>
                <a:gd name="connsiteY14" fmla="*/ 221634 h 342886"/>
                <a:gd name="connsiteX15" fmla="*/ 289907 w 329254"/>
                <a:gd name="connsiteY15" fmla="*/ 288314 h 342886"/>
                <a:gd name="connsiteX16" fmla="*/ 274996 w 329254"/>
                <a:gd name="connsiteY16" fmla="*/ 291391 h 342886"/>
                <a:gd name="connsiteX17" fmla="*/ 250255 w 329254"/>
                <a:gd name="connsiteY17" fmla="*/ 280542 h 342886"/>
                <a:gd name="connsiteX18" fmla="*/ 218286 w 329254"/>
                <a:gd name="connsiteY18" fmla="*/ 293021 h 342886"/>
                <a:gd name="connsiteX19" fmla="*/ 216387 w 329254"/>
                <a:gd name="connsiteY19" fmla="*/ 300131 h 342886"/>
                <a:gd name="connsiteX20" fmla="*/ 213415 w 329254"/>
                <a:gd name="connsiteY20" fmla="*/ 326965 h 342886"/>
                <a:gd name="connsiteX21" fmla="*/ 203357 w 329254"/>
                <a:gd name="connsiteY21" fmla="*/ 338342 h 342886"/>
                <a:gd name="connsiteX22" fmla="*/ 125880 w 329254"/>
                <a:gd name="connsiteY22" fmla="*/ 338342 h 342886"/>
                <a:gd name="connsiteX23" fmla="*/ 115822 w 329254"/>
                <a:gd name="connsiteY23" fmla="*/ 326965 h 342886"/>
                <a:gd name="connsiteX24" fmla="*/ 112868 w 329254"/>
                <a:gd name="connsiteY24" fmla="*/ 300166 h 342886"/>
                <a:gd name="connsiteX25" fmla="*/ 85969 w 329254"/>
                <a:gd name="connsiteY25" fmla="*/ 278775 h 342886"/>
                <a:gd name="connsiteX26" fmla="*/ 79000 w 329254"/>
                <a:gd name="connsiteY26" fmla="*/ 280647 h 342886"/>
                <a:gd name="connsiteX27" fmla="*/ 54276 w 329254"/>
                <a:gd name="connsiteY27" fmla="*/ 291479 h 342886"/>
                <a:gd name="connsiteX28" fmla="*/ 39347 w 329254"/>
                <a:gd name="connsiteY28" fmla="*/ 288402 h 342886"/>
                <a:gd name="connsiteX29" fmla="*/ 591 w 329254"/>
                <a:gd name="connsiteY29" fmla="*/ 221652 h 342886"/>
                <a:gd name="connsiteX30" fmla="*/ 5374 w 329254"/>
                <a:gd name="connsiteY30" fmla="*/ 207127 h 342886"/>
                <a:gd name="connsiteX31" fmla="*/ 27231 w 329254"/>
                <a:gd name="connsiteY31" fmla="*/ 191020 h 342886"/>
                <a:gd name="connsiteX32" fmla="*/ 32456 w 329254"/>
                <a:gd name="connsiteY32" fmla="*/ 157101 h 342886"/>
                <a:gd name="connsiteX33" fmla="*/ 27231 w 329254"/>
                <a:gd name="connsiteY33" fmla="*/ 151877 h 342886"/>
                <a:gd name="connsiteX34" fmla="*/ 5374 w 329254"/>
                <a:gd name="connsiteY34" fmla="*/ 135804 h 342886"/>
                <a:gd name="connsiteX35" fmla="*/ 609 w 329254"/>
                <a:gd name="connsiteY35" fmla="*/ 121280 h 342886"/>
                <a:gd name="connsiteX36" fmla="*/ 39365 w 329254"/>
                <a:gd name="connsiteY36" fmla="*/ 54600 h 342886"/>
                <a:gd name="connsiteX37" fmla="*/ 54311 w 329254"/>
                <a:gd name="connsiteY37" fmla="*/ 51540 h 342886"/>
                <a:gd name="connsiteX38" fmla="*/ 78930 w 329254"/>
                <a:gd name="connsiteY38" fmla="*/ 62354 h 342886"/>
                <a:gd name="connsiteX39" fmla="*/ 111007 w 329254"/>
                <a:gd name="connsiteY39" fmla="*/ 49677 h 342886"/>
                <a:gd name="connsiteX40" fmla="*/ 112868 w 329254"/>
                <a:gd name="connsiteY40" fmla="*/ 42695 h 342886"/>
                <a:gd name="connsiteX41" fmla="*/ 115857 w 329254"/>
                <a:gd name="connsiteY41" fmla="*/ 15861 h 342886"/>
                <a:gd name="connsiteX42" fmla="*/ 126109 w 329254"/>
                <a:gd name="connsiteY42" fmla="*/ 4431 h 342886"/>
                <a:gd name="connsiteX43" fmla="*/ 164812 w 329254"/>
                <a:gd name="connsiteY43" fmla="*/ 0 h 342886"/>
                <a:gd name="connsiteX44" fmla="*/ 164601 w 329254"/>
                <a:gd name="connsiteY44" fmla="*/ 118695 h 342886"/>
                <a:gd name="connsiteX45" fmla="*/ 111848 w 329254"/>
                <a:gd name="connsiteY45" fmla="*/ 171448 h 342886"/>
                <a:gd name="connsiteX46" fmla="*/ 164601 w 329254"/>
                <a:gd name="connsiteY46" fmla="*/ 224201 h 342886"/>
                <a:gd name="connsiteX47" fmla="*/ 217354 w 329254"/>
                <a:gd name="connsiteY47" fmla="*/ 171448 h 342886"/>
                <a:gd name="connsiteX48" fmla="*/ 164601 w 329254"/>
                <a:gd name="connsiteY48" fmla="*/ 118695 h 34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9254" h="342886">
                  <a:moveTo>
                    <a:pt x="164812" y="0"/>
                  </a:moveTo>
                  <a:cubicBezTo>
                    <a:pt x="177719" y="141"/>
                    <a:pt x="190573" y="1635"/>
                    <a:pt x="203181" y="4449"/>
                  </a:cubicBezTo>
                  <a:cubicBezTo>
                    <a:pt x="208680" y="5676"/>
                    <a:pt x="212791" y="10262"/>
                    <a:pt x="213415" y="15861"/>
                  </a:cubicBezTo>
                  <a:lnTo>
                    <a:pt x="216405" y="42713"/>
                  </a:lnTo>
                  <a:cubicBezTo>
                    <a:pt x="217894" y="56071"/>
                    <a:pt x="229931" y="65692"/>
                    <a:pt x="243288" y="64203"/>
                  </a:cubicBezTo>
                  <a:cubicBezTo>
                    <a:pt x="245702" y="63934"/>
                    <a:pt x="248062" y="63305"/>
                    <a:pt x="250290" y="62337"/>
                  </a:cubicBezTo>
                  <a:lnTo>
                    <a:pt x="274926" y="51522"/>
                  </a:lnTo>
                  <a:cubicBezTo>
                    <a:pt x="280051" y="49265"/>
                    <a:pt x="286046" y="50491"/>
                    <a:pt x="289872" y="54582"/>
                  </a:cubicBezTo>
                  <a:cubicBezTo>
                    <a:pt x="307666" y="73592"/>
                    <a:pt x="320918" y="96391"/>
                    <a:pt x="328628" y="121262"/>
                  </a:cubicBezTo>
                  <a:cubicBezTo>
                    <a:pt x="330285" y="126619"/>
                    <a:pt x="328373" y="132438"/>
                    <a:pt x="323863" y="135769"/>
                  </a:cubicBezTo>
                  <a:lnTo>
                    <a:pt x="302023" y="151877"/>
                  </a:lnTo>
                  <a:cubicBezTo>
                    <a:pt x="291214" y="159816"/>
                    <a:pt x="288888" y="175016"/>
                    <a:pt x="296829" y="185825"/>
                  </a:cubicBezTo>
                  <a:cubicBezTo>
                    <a:pt x="298286" y="187809"/>
                    <a:pt x="300038" y="189562"/>
                    <a:pt x="302023" y="191020"/>
                  </a:cubicBezTo>
                  <a:lnTo>
                    <a:pt x="323881" y="207109"/>
                  </a:lnTo>
                  <a:cubicBezTo>
                    <a:pt x="328405" y="210438"/>
                    <a:pt x="330325" y="216267"/>
                    <a:pt x="328664" y="221634"/>
                  </a:cubicBezTo>
                  <a:cubicBezTo>
                    <a:pt x="320949" y="246504"/>
                    <a:pt x="307699" y="269302"/>
                    <a:pt x="289907" y="288314"/>
                  </a:cubicBezTo>
                  <a:cubicBezTo>
                    <a:pt x="286090" y="292395"/>
                    <a:pt x="280116" y="293628"/>
                    <a:pt x="274996" y="291391"/>
                  </a:cubicBezTo>
                  <a:lnTo>
                    <a:pt x="250255" y="280542"/>
                  </a:lnTo>
                  <a:cubicBezTo>
                    <a:pt x="237981" y="275159"/>
                    <a:pt x="223667" y="280748"/>
                    <a:pt x="218286" y="293021"/>
                  </a:cubicBezTo>
                  <a:cubicBezTo>
                    <a:pt x="217296" y="295281"/>
                    <a:pt x="216654" y="297678"/>
                    <a:pt x="216387" y="300131"/>
                  </a:cubicBezTo>
                  <a:lnTo>
                    <a:pt x="213415" y="326965"/>
                  </a:lnTo>
                  <a:cubicBezTo>
                    <a:pt x="212802" y="332500"/>
                    <a:pt x="208777" y="337055"/>
                    <a:pt x="203357" y="338342"/>
                  </a:cubicBezTo>
                  <a:cubicBezTo>
                    <a:pt x="177886" y="344401"/>
                    <a:pt x="151351" y="344401"/>
                    <a:pt x="125880" y="338342"/>
                  </a:cubicBezTo>
                  <a:cubicBezTo>
                    <a:pt x="120461" y="337055"/>
                    <a:pt x="116436" y="332500"/>
                    <a:pt x="115822" y="326965"/>
                  </a:cubicBezTo>
                  <a:lnTo>
                    <a:pt x="112868" y="300166"/>
                  </a:lnTo>
                  <a:cubicBezTo>
                    <a:pt x="111347" y="286832"/>
                    <a:pt x="99304" y="277254"/>
                    <a:pt x="85969" y="278775"/>
                  </a:cubicBezTo>
                  <a:cubicBezTo>
                    <a:pt x="83566" y="279049"/>
                    <a:pt x="81217" y="279680"/>
                    <a:pt x="79000" y="280647"/>
                  </a:cubicBezTo>
                  <a:lnTo>
                    <a:pt x="54276" y="291479"/>
                  </a:lnTo>
                  <a:cubicBezTo>
                    <a:pt x="49151" y="293725"/>
                    <a:pt x="43167" y="292490"/>
                    <a:pt x="39347" y="288402"/>
                  </a:cubicBezTo>
                  <a:cubicBezTo>
                    <a:pt x="21547" y="269369"/>
                    <a:pt x="8295" y="246546"/>
                    <a:pt x="591" y="221652"/>
                  </a:cubicBezTo>
                  <a:cubicBezTo>
                    <a:pt x="-1071" y="216285"/>
                    <a:pt x="849" y="210456"/>
                    <a:pt x="5374" y="207127"/>
                  </a:cubicBezTo>
                  <a:lnTo>
                    <a:pt x="27231" y="191020"/>
                  </a:lnTo>
                  <a:cubicBezTo>
                    <a:pt x="38040" y="183096"/>
                    <a:pt x="40380" y="167910"/>
                    <a:pt x="32456" y="157101"/>
                  </a:cubicBezTo>
                  <a:cubicBezTo>
                    <a:pt x="30992" y="155103"/>
                    <a:pt x="29230" y="153341"/>
                    <a:pt x="27231" y="151877"/>
                  </a:cubicBezTo>
                  <a:lnTo>
                    <a:pt x="5374" y="135804"/>
                  </a:lnTo>
                  <a:cubicBezTo>
                    <a:pt x="856" y="132471"/>
                    <a:pt x="-1057" y="126642"/>
                    <a:pt x="609" y="121280"/>
                  </a:cubicBezTo>
                  <a:cubicBezTo>
                    <a:pt x="8320" y="96409"/>
                    <a:pt x="21571" y="73610"/>
                    <a:pt x="39365" y="54600"/>
                  </a:cubicBezTo>
                  <a:cubicBezTo>
                    <a:pt x="43192" y="50509"/>
                    <a:pt x="49185" y="49282"/>
                    <a:pt x="54311" y="51540"/>
                  </a:cubicBezTo>
                  <a:lnTo>
                    <a:pt x="78930" y="62354"/>
                  </a:lnTo>
                  <a:cubicBezTo>
                    <a:pt x="91289" y="67712"/>
                    <a:pt x="105650" y="62036"/>
                    <a:pt x="111007" y="49677"/>
                  </a:cubicBezTo>
                  <a:cubicBezTo>
                    <a:pt x="111971" y="47455"/>
                    <a:pt x="112598" y="45102"/>
                    <a:pt x="112868" y="42695"/>
                  </a:cubicBezTo>
                  <a:lnTo>
                    <a:pt x="115857" y="15861"/>
                  </a:lnTo>
                  <a:cubicBezTo>
                    <a:pt x="116476" y="10250"/>
                    <a:pt x="120597" y="5654"/>
                    <a:pt x="126109" y="4431"/>
                  </a:cubicBezTo>
                  <a:cubicBezTo>
                    <a:pt x="138717" y="1635"/>
                    <a:pt x="151606" y="158"/>
                    <a:pt x="164812" y="0"/>
                  </a:cubicBezTo>
                  <a:close/>
                  <a:moveTo>
                    <a:pt x="164601" y="118695"/>
                  </a:moveTo>
                  <a:cubicBezTo>
                    <a:pt x="135465" y="118695"/>
                    <a:pt x="111848" y="142312"/>
                    <a:pt x="111848" y="171448"/>
                  </a:cubicBezTo>
                  <a:cubicBezTo>
                    <a:pt x="111848" y="200584"/>
                    <a:pt x="135465" y="224201"/>
                    <a:pt x="164601" y="224201"/>
                  </a:cubicBezTo>
                  <a:cubicBezTo>
                    <a:pt x="193737" y="224201"/>
                    <a:pt x="217354" y="200584"/>
                    <a:pt x="217354" y="171448"/>
                  </a:cubicBezTo>
                  <a:cubicBezTo>
                    <a:pt x="217354" y="142312"/>
                    <a:pt x="193737" y="118695"/>
                    <a:pt x="164601" y="118695"/>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491019" fontAlgn="base">
                <a:spcBef>
                  <a:spcPct val="0"/>
                </a:spcBef>
                <a:spcAft>
                  <a:spcPct val="0"/>
                </a:spcAft>
              </a:pPr>
              <a:endParaRPr lang="en-US" sz="2000">
                <a:ln w="3175">
                  <a:noFill/>
                </a:ln>
                <a:solidFill>
                  <a:srgbClr val="FFFFFF"/>
                </a:solidFill>
                <a:latin typeface="Segoe UI Semibold"/>
              </a:endParaRPr>
            </a:p>
          </p:txBody>
        </p:sp>
      </p:grpSp>
      <p:sp>
        <p:nvSpPr>
          <p:cNvPr id="22" name="TextBox 21">
            <a:extLst>
              <a:ext uri="{FF2B5EF4-FFF2-40B4-BE49-F238E27FC236}">
                <a16:creationId xmlns:a16="http://schemas.microsoft.com/office/drawing/2014/main" id="{06C24C86-2686-2024-E427-E2CE5E5D7DC9}"/>
              </a:ext>
            </a:extLst>
          </p:cNvPr>
          <p:cNvSpPr txBox="1"/>
          <p:nvPr/>
        </p:nvSpPr>
        <p:spPr>
          <a:xfrm>
            <a:off x="7849230" y="5192768"/>
            <a:ext cx="2149624" cy="307777"/>
          </a:xfrm>
          <a:prstGeom prst="rect">
            <a:avLst/>
          </a:prstGeom>
        </p:spPr>
        <p:txBody>
          <a:bodyPr wrap="square" lIns="0" tIns="0" rIns="0" bIns="0">
            <a:spAutoFit/>
          </a:bodyPr>
          <a:lstStyle/>
          <a:p>
            <a:pPr algn="ctr" defTabSz="932742" fontAlgn="base">
              <a:lnSpc>
                <a:spcPct val="100000"/>
              </a:lnSpc>
              <a:spcBef>
                <a:spcPct val="0"/>
              </a:spcBef>
              <a:spcAft>
                <a:spcPts val="1200"/>
              </a:spcAft>
              <a:buFontTx/>
              <a:buNone/>
              <a:defRPr/>
            </a:pPr>
            <a:r>
              <a:rPr lang="en-US" sz="2000" b="1" spc="-50" dirty="0">
                <a:ln w="3175">
                  <a:noFill/>
                </a:ln>
                <a:latin typeface="Segoe UI Semibold" panose="020B0702040204020203" pitchFamily="34" charset="0"/>
                <a:cs typeface="Segoe UI Semibold" panose="020B0702040204020203" pitchFamily="34" charset="0"/>
              </a:rPr>
              <a:t>Azioni </a:t>
            </a:r>
            <a:r>
              <a:rPr lang="en-US" sz="2000" b="1" spc="-50" dirty="0" err="1">
                <a:ln w="3175">
                  <a:noFill/>
                </a:ln>
                <a:latin typeface="Segoe UI Semibold" panose="020B0702040204020203" pitchFamily="34" charset="0"/>
                <a:cs typeface="Segoe UI Semibold" panose="020B0702040204020203" pitchFamily="34" charset="0"/>
              </a:rPr>
              <a:t>autonome</a:t>
            </a:r>
            <a:endParaRPr lang="en-US" sz="2000" b="1" spc="-50" dirty="0">
              <a:ln w="3175">
                <a:noFill/>
              </a:ln>
              <a:latin typeface="Segoe UI Semibold" panose="020B0702040204020203" pitchFamily="34" charset="0"/>
              <a:cs typeface="Segoe UI Semibold" panose="020B0702040204020203" pitchFamily="34" charset="0"/>
            </a:endParaRPr>
          </a:p>
        </p:txBody>
      </p:sp>
      <p:grpSp>
        <p:nvGrpSpPr>
          <p:cNvPr id="23" name="Group 22" descr="Agents vary in complexity">
            <a:extLst>
              <a:ext uri="{FF2B5EF4-FFF2-40B4-BE49-F238E27FC236}">
                <a16:creationId xmlns:a16="http://schemas.microsoft.com/office/drawing/2014/main" id="{E762906A-7215-BCB0-479E-A72BFF005537}"/>
              </a:ext>
            </a:extLst>
          </p:cNvPr>
          <p:cNvGrpSpPr/>
          <p:nvPr/>
        </p:nvGrpSpPr>
        <p:grpSpPr>
          <a:xfrm>
            <a:off x="587376" y="6095097"/>
            <a:ext cx="11012422" cy="553998"/>
            <a:chOff x="587376" y="5461517"/>
            <a:chExt cx="11012422" cy="553998"/>
          </a:xfrm>
        </p:grpSpPr>
        <p:sp>
          <p:nvSpPr>
            <p:cNvPr id="24" name="Rounded Rectangle 62">
              <a:extLst>
                <a:ext uri="{FF2B5EF4-FFF2-40B4-BE49-F238E27FC236}">
                  <a16:creationId xmlns:a16="http://schemas.microsoft.com/office/drawing/2014/main" id="{F9FDA5AE-A12C-9DF4-79A7-CDC6EB872F21}"/>
                </a:ext>
                <a:ext uri="{C183D7F6-B498-43B3-948B-1728B52AA6E4}">
                  <adec:decorative xmlns:adec="http://schemas.microsoft.com/office/drawing/2017/decorative" val="1"/>
                </a:ext>
              </a:extLst>
            </p:cNvPr>
            <p:cNvSpPr/>
            <p:nvPr/>
          </p:nvSpPr>
          <p:spPr bwMode="auto">
            <a:xfrm>
              <a:off x="3482316" y="5461517"/>
              <a:ext cx="5227393" cy="553998"/>
            </a:xfrm>
            <a:prstGeom prst="rect">
              <a:avLst/>
            </a:prstGeom>
            <a:noFill/>
            <a:ln w="9525">
              <a:noFill/>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821996" rtl="0" eaLnBrk="1" fontAlgn="base" latinLnBrk="0" hangingPunct="1">
                <a:lnSpc>
                  <a:spcPct val="100000"/>
                </a:lnSpc>
                <a:spcBef>
                  <a:spcPct val="0"/>
                </a:spcBef>
                <a:spcAft>
                  <a:spcPct val="0"/>
                </a:spcAft>
                <a:buClrTx/>
                <a:buSzTx/>
                <a:buFontTx/>
                <a:buNone/>
                <a:tabLst>
                  <a:tab pos="920076" algn="l"/>
                </a:tabLst>
                <a:defRPr/>
              </a:pPr>
              <a:r>
                <a:rPr kumimoji="0" lang="en-US" sz="1800" b="0" i="0" u="none" strike="noStrike" kern="0" cap="none" spc="0" normalizeH="0" baseline="0" noProof="0" dirty="0">
                  <a:ln>
                    <a:noFill/>
                  </a:ln>
                  <a:solidFill>
                    <a:schemeClr val="tx1"/>
                  </a:solidFill>
                  <a:effectLst/>
                  <a:uLnTx/>
                  <a:uFillTx/>
                  <a:latin typeface="Segoe UI Light" panose="020B0502040204020203" pitchFamily="34" charset="0"/>
                  <a:cs typeface="Segoe UI Light" panose="020B0502040204020203" pitchFamily="34" charset="0"/>
                </a:rPr>
                <a:t>La </a:t>
              </a:r>
              <a:r>
                <a:rPr kumimoji="0" lang="en-US" sz="1800" b="0" i="0" u="none" strike="noStrike" kern="0" cap="none" spc="0" normalizeH="0" baseline="0" noProof="0" dirty="0" err="1">
                  <a:ln>
                    <a:noFill/>
                  </a:ln>
                  <a:solidFill>
                    <a:schemeClr val="tx1"/>
                  </a:solidFill>
                  <a:effectLst/>
                  <a:uLnTx/>
                  <a:uFillTx/>
                  <a:latin typeface="Segoe UI Light" panose="020B0502040204020203" pitchFamily="34" charset="0"/>
                  <a:cs typeface="Segoe UI Light" panose="020B0502040204020203" pitchFamily="34" charset="0"/>
                </a:rPr>
                <a:t>complessità</a:t>
              </a:r>
              <a:r>
                <a:rPr kumimoji="0" lang="en-US" sz="1800" b="0" i="0" u="none" strike="noStrike" kern="0" cap="none" spc="0" normalizeH="0" baseline="0" noProof="0" dirty="0">
                  <a:ln>
                    <a:noFill/>
                  </a:ln>
                  <a:solidFill>
                    <a:schemeClr val="tx1"/>
                  </a:solidFill>
                  <a:effectLst/>
                  <a:uLnTx/>
                  <a:uFillTx/>
                  <a:latin typeface="Segoe UI Light" panose="020B0502040204020203" pitchFamily="34" charset="0"/>
                  <a:cs typeface="Segoe UI Light" panose="020B0502040204020203" pitchFamily="34" charset="0"/>
                </a:rPr>
                <a:t> degli </a:t>
              </a:r>
              <a:r>
                <a:rPr kumimoji="0" lang="en-US" sz="1800" b="0" i="0" u="none" strike="noStrike" kern="0" cap="none" spc="0" normalizeH="0" baseline="0" noProof="0" dirty="0" err="1">
                  <a:ln>
                    <a:noFill/>
                  </a:ln>
                  <a:solidFill>
                    <a:schemeClr val="tx1"/>
                  </a:solidFill>
                  <a:effectLst/>
                  <a:uLnTx/>
                  <a:uFillTx/>
                  <a:latin typeface="Segoe UI Light" panose="020B0502040204020203" pitchFamily="34" charset="0"/>
                  <a:cs typeface="Segoe UI Light" panose="020B0502040204020203" pitchFamily="34" charset="0"/>
                </a:rPr>
                <a:t>agenti</a:t>
              </a:r>
              <a:r>
                <a:rPr kumimoji="0" lang="en-US" sz="1800" b="0" i="0" u="none" strike="noStrike" kern="0" cap="none" spc="0" normalizeH="0" baseline="0" noProof="0" dirty="0">
                  <a:ln>
                    <a:noFill/>
                  </a:ln>
                  <a:solidFill>
                    <a:schemeClr val="tx1"/>
                  </a:solidFill>
                  <a:effectLst/>
                  <a:uLnTx/>
                  <a:uFillTx/>
                  <a:latin typeface="Segoe UI Light" panose="020B0502040204020203" pitchFamily="34" charset="0"/>
                  <a:cs typeface="Segoe UI Light" panose="020B0502040204020203" pitchFamily="34" charset="0"/>
                </a:rPr>
                <a:t> varia in base alle </a:t>
              </a:r>
              <a:r>
                <a:rPr kumimoji="0" lang="en-US" sz="1800" b="0" i="0" u="none" strike="noStrike" kern="0" cap="none" spc="0" normalizeH="0" baseline="0" noProof="0" dirty="0" err="1">
                  <a:ln>
                    <a:noFill/>
                  </a:ln>
                  <a:solidFill>
                    <a:schemeClr val="tx1"/>
                  </a:solidFill>
                  <a:effectLst/>
                  <a:uLnTx/>
                  <a:uFillTx/>
                  <a:latin typeface="Segoe UI Light" panose="020B0502040204020203" pitchFamily="34" charset="0"/>
                  <a:cs typeface="Segoe UI Light" panose="020B0502040204020203" pitchFamily="34" charset="0"/>
                </a:rPr>
                <a:t>esigenze</a:t>
              </a:r>
              <a:r>
                <a:rPr kumimoji="0" lang="en-US" sz="1800" b="0" i="0" u="none" strike="noStrike" kern="0" cap="none" spc="0" normalizeH="0" baseline="0" noProof="0" dirty="0">
                  <a:ln>
                    <a:noFill/>
                  </a:ln>
                  <a:solidFill>
                    <a:schemeClr val="tx1"/>
                  </a:solidFill>
                  <a:effectLst/>
                  <a:uLnTx/>
                  <a:uFillTx/>
                  <a:latin typeface="Segoe UI Light" panose="020B0502040204020203" pitchFamily="34" charset="0"/>
                  <a:cs typeface="Segoe UI Light" panose="020B0502040204020203" pitchFamily="34" charset="0"/>
                </a:rPr>
                <a:t>,</a:t>
              </a:r>
            </a:p>
            <a:p>
              <a:pPr marL="0" marR="0" lvl="0" indent="0" algn="ctr" defTabSz="821996" rtl="0" eaLnBrk="1" fontAlgn="base" latinLnBrk="0" hangingPunct="1">
                <a:lnSpc>
                  <a:spcPct val="100000"/>
                </a:lnSpc>
                <a:spcBef>
                  <a:spcPct val="0"/>
                </a:spcBef>
                <a:spcAft>
                  <a:spcPct val="0"/>
                </a:spcAft>
                <a:buClrTx/>
                <a:buSzTx/>
                <a:buFontTx/>
                <a:buNone/>
                <a:tabLst>
                  <a:tab pos="920076" algn="l"/>
                </a:tabLst>
                <a:defRPr/>
              </a:pPr>
              <a:r>
                <a:rPr kumimoji="0" lang="en-US" sz="1800" b="0" i="0" u="none" strike="noStrike" kern="0" cap="none" spc="0" normalizeH="0" baseline="0" noProof="0" dirty="0">
                  <a:ln>
                    <a:noFill/>
                  </a:ln>
                  <a:solidFill>
                    <a:schemeClr val="tx1"/>
                  </a:solidFill>
                  <a:effectLst/>
                  <a:uLnTx/>
                  <a:uFillTx/>
                  <a:latin typeface="Segoe UI Light" panose="020B0502040204020203" pitchFamily="34" charset="0"/>
                  <a:cs typeface="Segoe UI Light" panose="020B0502040204020203" pitchFamily="34" charset="0"/>
                </a:rPr>
                <a:t>e con </a:t>
              </a:r>
              <a:r>
                <a:rPr kumimoji="0" lang="en-US" sz="1800" b="0" i="0" u="none" strike="noStrike" kern="0" cap="none" spc="0" normalizeH="0" baseline="0" noProof="0" dirty="0" err="1">
                  <a:ln>
                    <a:noFill/>
                  </a:ln>
                  <a:solidFill>
                    <a:schemeClr val="tx1"/>
                  </a:solidFill>
                  <a:effectLst/>
                  <a:uLnTx/>
                  <a:uFillTx/>
                  <a:latin typeface="Segoe UI Light" panose="020B0502040204020203" pitchFamily="34" charset="0"/>
                  <a:cs typeface="Segoe UI Light" panose="020B0502040204020203" pitchFamily="34" charset="0"/>
                </a:rPr>
                <a:t>essa</a:t>
              </a:r>
              <a:r>
                <a:rPr kumimoji="0" lang="en-US" sz="1800" b="0" i="0" u="none" strike="noStrike" kern="0" cap="none" spc="0" normalizeH="0" baseline="0" noProof="0" dirty="0">
                  <a:ln>
                    <a:noFill/>
                  </a:ln>
                  <a:solidFill>
                    <a:schemeClr val="tx1"/>
                  </a:solidFill>
                  <a:effectLst/>
                  <a:uLnTx/>
                  <a:uFillTx/>
                  <a:latin typeface="Segoe UI Light" panose="020B0502040204020203" pitchFamily="34" charset="0"/>
                  <a:cs typeface="Segoe UI Light" panose="020B0502040204020203" pitchFamily="34" charset="0"/>
                </a:rPr>
                <a:t> </a:t>
              </a:r>
              <a:r>
                <a:rPr lang="en-US" sz="1800" kern="0" dirty="0" err="1">
                  <a:solidFill>
                    <a:schemeClr val="tx1"/>
                  </a:solidFill>
                  <a:latin typeface="Segoe UI Light" panose="020B0502040204020203" pitchFamily="34" charset="0"/>
                  <a:cs typeface="Segoe UI Light" panose="020B0502040204020203" pitchFamily="34" charset="0"/>
                </a:rPr>
                <a:t>anche</a:t>
              </a:r>
              <a:r>
                <a:rPr lang="en-US" sz="1800" kern="0" dirty="0">
                  <a:solidFill>
                    <a:schemeClr val="tx1"/>
                  </a:solidFill>
                  <a:latin typeface="Segoe UI Light" panose="020B0502040204020203" pitchFamily="34" charset="0"/>
                  <a:cs typeface="Segoe UI Light" panose="020B0502040204020203" pitchFamily="34" charset="0"/>
                </a:rPr>
                <a:t> il </a:t>
              </a:r>
              <a:r>
                <a:rPr lang="en-US" sz="1800" kern="0" dirty="0" err="1">
                  <a:solidFill>
                    <a:schemeClr val="tx1"/>
                  </a:solidFill>
                  <a:latin typeface="Segoe UI Light" panose="020B0502040204020203" pitchFamily="34" charset="0"/>
                  <a:cs typeface="Segoe UI Light" panose="020B0502040204020203" pitchFamily="34" charset="0"/>
                </a:rPr>
                <a:t>percorso</a:t>
              </a:r>
              <a:r>
                <a:rPr lang="en-US" sz="1800" kern="0" dirty="0">
                  <a:solidFill>
                    <a:schemeClr val="tx1"/>
                  </a:solidFill>
                  <a:latin typeface="Segoe UI Light" panose="020B0502040204020203" pitchFamily="34" charset="0"/>
                  <a:cs typeface="Segoe UI Light" panose="020B0502040204020203" pitchFamily="34" charset="0"/>
                </a:rPr>
                <a:t> di </a:t>
              </a:r>
              <a:r>
                <a:rPr lang="en-US" sz="1800" kern="0" dirty="0" err="1">
                  <a:solidFill>
                    <a:schemeClr val="tx1"/>
                  </a:solidFill>
                  <a:latin typeface="Segoe UI Light" panose="020B0502040204020203" pitchFamily="34" charset="0"/>
                  <a:cs typeface="Segoe UI Light" panose="020B0502040204020203" pitchFamily="34" charset="0"/>
                </a:rPr>
                <a:t>sviluppo</a:t>
              </a:r>
              <a:endParaRPr kumimoji="0" lang="en-US" sz="1800" b="0" i="0" u="none" strike="noStrike" kern="0" cap="none" spc="0" normalizeH="0" baseline="0" noProof="0" dirty="0">
                <a:ln>
                  <a:noFill/>
                </a:ln>
                <a:solidFill>
                  <a:schemeClr val="tx1"/>
                </a:solidFill>
                <a:effectLst/>
                <a:uLnTx/>
                <a:uFillTx/>
                <a:latin typeface="Segoe UI Light" panose="020B0502040204020203" pitchFamily="34" charset="0"/>
                <a:cs typeface="Segoe UI Light" panose="020B0502040204020203" pitchFamily="34" charset="0"/>
              </a:endParaRPr>
            </a:p>
          </p:txBody>
        </p:sp>
        <p:grpSp>
          <p:nvGrpSpPr>
            <p:cNvPr id="25" name="Group 24">
              <a:extLst>
                <a:ext uri="{FF2B5EF4-FFF2-40B4-BE49-F238E27FC236}">
                  <a16:creationId xmlns:a16="http://schemas.microsoft.com/office/drawing/2014/main" id="{EF7F798F-EB80-275E-24D5-91284B0F55F7}"/>
                </a:ext>
                <a:ext uri="{C183D7F6-B498-43B3-948B-1728B52AA6E4}">
                  <adec:decorative xmlns:adec="http://schemas.microsoft.com/office/drawing/2017/decorative" val="1"/>
                </a:ext>
              </a:extLst>
            </p:cNvPr>
            <p:cNvGrpSpPr/>
            <p:nvPr/>
          </p:nvGrpSpPr>
          <p:grpSpPr>
            <a:xfrm rot="16200000" flipH="1">
              <a:off x="1552050" y="4708500"/>
              <a:ext cx="130681" cy="2060030"/>
              <a:chOff x="25259549" y="2977192"/>
              <a:chExt cx="697327" cy="13435118"/>
            </a:xfrm>
          </p:grpSpPr>
          <p:cxnSp>
            <p:nvCxnSpPr>
              <p:cNvPr id="30" name="Straight Arrow Connector 29">
                <a:extLst>
                  <a:ext uri="{FF2B5EF4-FFF2-40B4-BE49-F238E27FC236}">
                    <a16:creationId xmlns:a16="http://schemas.microsoft.com/office/drawing/2014/main" id="{2E32A07F-E5DB-6F81-4B0B-94E3978CC631}"/>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gradFill flip="none" rotWithShape="1">
                  <a:gsLst>
                    <a:gs pos="100000">
                      <a:srgbClr val="FF5C39"/>
                    </a:gs>
                    <a:gs pos="0">
                      <a:srgbClr val="F4364C"/>
                    </a:gs>
                  </a:gsLst>
                  <a:lin ang="0" scaled="1"/>
                  <a:tileRect/>
                </a:gra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8AE449A-7758-DDAC-6941-48B907300E95}"/>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FF5C3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10430A7-34B6-9167-C443-1BADF6D4A35C}"/>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FF5C3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BC420777-38C7-1878-BBE2-39A82C290C00}"/>
                </a:ext>
                <a:ext uri="{C183D7F6-B498-43B3-948B-1728B52AA6E4}">
                  <adec:decorative xmlns:adec="http://schemas.microsoft.com/office/drawing/2017/decorative" val="1"/>
                </a:ext>
              </a:extLst>
            </p:cNvPr>
            <p:cNvGrpSpPr/>
            <p:nvPr/>
          </p:nvGrpSpPr>
          <p:grpSpPr>
            <a:xfrm rot="5400000">
              <a:off x="10504442" y="4708500"/>
              <a:ext cx="130681" cy="2060030"/>
              <a:chOff x="25259549" y="2977192"/>
              <a:chExt cx="697327" cy="13435118"/>
            </a:xfrm>
          </p:grpSpPr>
          <p:cxnSp>
            <p:nvCxnSpPr>
              <p:cNvPr id="27" name="Straight Arrow Connector 26">
                <a:extLst>
                  <a:ext uri="{FF2B5EF4-FFF2-40B4-BE49-F238E27FC236}">
                    <a16:creationId xmlns:a16="http://schemas.microsoft.com/office/drawing/2014/main" id="{F433574F-6582-BA7A-FF80-938D2F2A6207}"/>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gradFill flip="none" rotWithShape="1">
                  <a:gsLst>
                    <a:gs pos="0">
                      <a:srgbClr val="0078D4"/>
                    </a:gs>
                    <a:gs pos="100000">
                      <a:srgbClr val="49C5B1"/>
                    </a:gs>
                  </a:gsLst>
                  <a:lin ang="0" scaled="1"/>
                  <a:tileRect/>
                </a:gra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3AA83D5-2CE6-5515-CA51-D8685A437233}"/>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49C5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CE66A0E-C6EF-3A19-B9BB-7B55A969B0D2}"/>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49C5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35" name="Title 7">
            <a:extLst>
              <a:ext uri="{FF2B5EF4-FFF2-40B4-BE49-F238E27FC236}">
                <a16:creationId xmlns:a16="http://schemas.microsoft.com/office/drawing/2014/main" id="{7B8C74EF-33F2-CA89-4066-0E451E55D05A}"/>
              </a:ext>
            </a:extLst>
          </p:cNvPr>
          <p:cNvSpPr>
            <a:spLocks noGrp="1"/>
          </p:cNvSpPr>
          <p:nvPr>
            <p:ph type="title"/>
          </p:nvPr>
        </p:nvSpPr>
        <p:spPr>
          <a:xfrm>
            <a:off x="588263" y="485481"/>
            <a:ext cx="11018520" cy="461665"/>
          </a:xfrm>
        </p:spPr>
        <p:txBody>
          <a:bodyPr/>
          <a:lstStyle/>
          <a:p>
            <a:r>
              <a:rPr lang="it-IT" dirty="0"/>
              <a:t>Perché utilizzare un agente?</a:t>
            </a:r>
            <a:endParaRPr lang="en-GB" dirty="0"/>
          </a:p>
        </p:txBody>
      </p:sp>
    </p:spTree>
    <p:extLst>
      <p:ext uri="{BB962C8B-B14F-4D97-AF65-F5344CB8AC3E}">
        <p14:creationId xmlns:p14="http://schemas.microsoft.com/office/powerpoint/2010/main" val="9197731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100"/>
                                  </p:stCondLst>
                                  <p:childTnLst>
                                    <p:animMotion origin="layout" path="M 0 3.7037E-7 L 0 0.03542 " pathEditMode="relative" rAng="0" ptsTypes="AA">
                                      <p:cBhvr>
                                        <p:cTn id="9" dur="700" spd="-100000" fill="hold"/>
                                        <p:tgtEl>
                                          <p:spTgt spid="3"/>
                                        </p:tgtEl>
                                        <p:attrNameLst>
                                          <p:attrName>ppt_x</p:attrName>
                                          <p:attrName>ppt_y</p:attrName>
                                        </p:attrNameLst>
                                      </p:cBhvr>
                                      <p:rCtr x="0" y="1759"/>
                                    </p:animMotion>
                                  </p:childTnLst>
                                </p:cTn>
                              </p:par>
                              <p:par>
                                <p:cTn id="10" presetID="16" presetClass="entr" presetSubtype="37" fill="hold" nodeType="withEffect">
                                  <p:stCondLst>
                                    <p:cond delay="100"/>
                                  </p:stCondLst>
                                  <p:childTnLst>
                                    <p:set>
                                      <p:cBhvr>
                                        <p:cTn id="11" dur="1" fill="hold">
                                          <p:stCondLst>
                                            <p:cond delay="0"/>
                                          </p:stCondLst>
                                        </p:cTn>
                                        <p:tgtEl>
                                          <p:spTgt spid="7"/>
                                        </p:tgtEl>
                                        <p:attrNameLst>
                                          <p:attrName>style.visibility</p:attrName>
                                        </p:attrNameLst>
                                      </p:cBhvr>
                                      <p:to>
                                        <p:strVal val="visible"/>
                                      </p:to>
                                    </p:set>
                                    <p:animEffect transition="in" filter="barn(outVertical)">
                                      <p:cBhvr>
                                        <p:cTn id="12" dur="500"/>
                                        <p:tgtEl>
                                          <p:spTgt spid="7"/>
                                        </p:tgtEl>
                                      </p:cBhvr>
                                    </p:animEffect>
                                  </p:childTnLst>
                                </p:cTn>
                              </p:par>
                            </p:childTnLst>
                          </p:cTn>
                        </p:par>
                        <p:par>
                          <p:cTn id="13" fill="hold">
                            <p:stCondLst>
                              <p:cond delay="800"/>
                            </p:stCondLst>
                            <p:childTnLst>
                              <p:par>
                                <p:cTn id="14" presetID="10" presetClass="entr" presetSubtype="0" fill="hold" grpId="0"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64" presetClass="path" presetSubtype="0" accel="50000" decel="50000" fill="hold" grpId="1" nodeType="withEffect">
                                  <p:stCondLst>
                                    <p:cond delay="0"/>
                                  </p:stCondLst>
                                  <p:childTnLst>
                                    <p:animMotion origin="layout" path="M 1.45833E-6 0.01528 L 1.45833E-6 -3.7037E-6 " pathEditMode="relative" rAng="0" ptsTypes="AA">
                                      <p:cBhvr>
                                        <p:cTn id="18" dur="500" fill="hold"/>
                                        <p:tgtEl>
                                          <p:spTgt spid="4"/>
                                        </p:tgtEl>
                                        <p:attrNameLst>
                                          <p:attrName>ppt_x</p:attrName>
                                          <p:attrName>ppt_y</p:attrName>
                                        </p:attrNameLst>
                                      </p:cBhvr>
                                      <p:rCtr x="0" y="-764"/>
                                    </p:animMotion>
                                  </p:childTnLst>
                                </p:cTn>
                              </p:par>
                              <p:par>
                                <p:cTn id="19" presetID="10"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64" presetClass="path" presetSubtype="0" accel="50000" decel="50000" fill="hold" grpId="1" nodeType="withEffect">
                                  <p:stCondLst>
                                    <p:cond delay="0"/>
                                  </p:stCondLst>
                                  <p:childTnLst>
                                    <p:animMotion origin="layout" path="M 1.45833E-6 0.01528 L 1.45833E-6 3.7037E-7 " pathEditMode="relative" rAng="0" ptsTypes="AA">
                                      <p:cBhvr>
                                        <p:cTn id="23" dur="500" fill="hold"/>
                                        <p:tgtEl>
                                          <p:spTgt spid="14"/>
                                        </p:tgtEl>
                                        <p:attrNameLst>
                                          <p:attrName>ppt_x</p:attrName>
                                          <p:attrName>ppt_y</p:attrName>
                                        </p:attrNameLst>
                                      </p:cBhvr>
                                      <p:rCtr x="0" y="-764"/>
                                    </p:animMotion>
                                  </p:childTnLst>
                                </p:cTn>
                              </p:par>
                              <p:par>
                                <p:cTn id="24" presetID="10" presetClass="entr" presetSubtype="0" fill="hold"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64" presetClass="path" presetSubtype="0" accel="50000" decel="50000" fill="hold" nodeType="withEffect">
                                  <p:stCondLst>
                                    <p:cond delay="0"/>
                                  </p:stCondLst>
                                  <p:childTnLst>
                                    <p:animMotion origin="layout" path="M 1.25E-6 0.01527 L 1.25E-6 3.7037E-6 " pathEditMode="relative" rAng="0" ptsTypes="AA">
                                      <p:cBhvr>
                                        <p:cTn id="28" dur="500" fill="hold"/>
                                        <p:tgtEl>
                                          <p:spTgt spid="11"/>
                                        </p:tgtEl>
                                        <p:attrNameLst>
                                          <p:attrName>ppt_x</p:attrName>
                                          <p:attrName>ppt_y</p:attrName>
                                        </p:attrNameLst>
                                      </p:cBhvr>
                                      <p:rCtr x="0" y="-764"/>
                                    </p:animMotion>
                                  </p:childTnLst>
                                </p:cTn>
                              </p:par>
                            </p:childTnLst>
                          </p:cTn>
                        </p:par>
                        <p:par>
                          <p:cTn id="29" fill="hold">
                            <p:stCondLst>
                              <p:cond delay="1300"/>
                            </p:stCondLst>
                            <p:childTnLst>
                              <p:par>
                                <p:cTn id="30" presetID="10" presetClass="entr" presetSubtype="0" fill="hold" grpId="0" nodeType="after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64" presetClass="path" presetSubtype="0" accel="50000" decel="50000" fill="hold" grpId="1" nodeType="withEffect">
                                  <p:stCondLst>
                                    <p:cond delay="0"/>
                                  </p:stCondLst>
                                  <p:childTnLst>
                                    <p:animMotion origin="layout" path="M 0 0.01528 L 0 1.11111E-6 " pathEditMode="relative" rAng="0" ptsTypes="AA">
                                      <p:cBhvr>
                                        <p:cTn id="34" dur="500" fill="hold"/>
                                        <p:tgtEl>
                                          <p:spTgt spid="6"/>
                                        </p:tgtEl>
                                        <p:attrNameLst>
                                          <p:attrName>ppt_x</p:attrName>
                                          <p:attrName>ppt_y</p:attrName>
                                        </p:attrNameLst>
                                      </p:cBhvr>
                                      <p:rCtr x="0" y="-764"/>
                                    </p:animMotion>
                                  </p:childTnLst>
                                </p:cTn>
                              </p:par>
                              <p:par>
                                <p:cTn id="35" presetID="10"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64" presetClass="path" presetSubtype="0" accel="50000" decel="50000" fill="hold" grpId="1" nodeType="withEffect">
                                  <p:stCondLst>
                                    <p:cond delay="0"/>
                                  </p:stCondLst>
                                  <p:childTnLst>
                                    <p:animMotion origin="layout" path="M 0 0.01528 L 0 3.7037E-7 " pathEditMode="relative" rAng="0" ptsTypes="AA">
                                      <p:cBhvr>
                                        <p:cTn id="39" dur="500" fill="hold"/>
                                        <p:tgtEl>
                                          <p:spTgt spid="18"/>
                                        </p:tgtEl>
                                        <p:attrNameLst>
                                          <p:attrName>ppt_x</p:attrName>
                                          <p:attrName>ppt_y</p:attrName>
                                        </p:attrNameLst>
                                      </p:cBhvr>
                                      <p:rCtr x="0" y="-764"/>
                                    </p:animMotion>
                                  </p:childTnLst>
                                </p:cTn>
                              </p:par>
                              <p:par>
                                <p:cTn id="40" presetID="10" presetClass="entr" presetSubtype="0" fill="hold" nodeType="with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par>
                                <p:cTn id="43" presetID="64" presetClass="path" presetSubtype="0" accel="50000" decel="50000" fill="hold" nodeType="withEffect">
                                  <p:stCondLst>
                                    <p:cond delay="0"/>
                                  </p:stCondLst>
                                  <p:childTnLst>
                                    <p:animMotion origin="layout" path="M 0 0.01527 L 0 3.7037E-6 " pathEditMode="relative" rAng="0" ptsTypes="AA">
                                      <p:cBhvr>
                                        <p:cTn id="44" dur="500" fill="hold"/>
                                        <p:tgtEl>
                                          <p:spTgt spid="15"/>
                                        </p:tgtEl>
                                        <p:attrNameLst>
                                          <p:attrName>ppt_x</p:attrName>
                                          <p:attrName>ppt_y</p:attrName>
                                        </p:attrNameLst>
                                      </p:cBhvr>
                                      <p:rCtr x="0" y="-764"/>
                                    </p:animMotion>
                                  </p:childTnLst>
                                </p:cTn>
                              </p:par>
                            </p:childTnLst>
                          </p:cTn>
                        </p:par>
                        <p:par>
                          <p:cTn id="45" fill="hold">
                            <p:stCondLst>
                              <p:cond delay="1800"/>
                            </p:stCondLst>
                            <p:childTnLst>
                              <p:par>
                                <p:cTn id="46" presetID="10" presetClass="entr" presetSubtype="0" fill="hold" grpId="0" nodeType="afterEffect">
                                  <p:stCondLst>
                                    <p:cond delay="0"/>
                                  </p:stCondLst>
                                  <p:childTnLst>
                                    <p:set>
                                      <p:cBhvr>
                                        <p:cTn id="47" dur="1" fill="hold">
                                          <p:stCondLst>
                                            <p:cond delay="0"/>
                                          </p:stCondLst>
                                        </p:cTn>
                                        <p:tgtEl>
                                          <p:spTgt spid="5"/>
                                        </p:tgtEl>
                                        <p:attrNameLst>
                                          <p:attrName>style.visibility</p:attrName>
                                        </p:attrNameLst>
                                      </p:cBhvr>
                                      <p:to>
                                        <p:strVal val="visible"/>
                                      </p:to>
                                    </p:set>
                                    <p:animEffect transition="in" filter="fade">
                                      <p:cBhvr>
                                        <p:cTn id="48" dur="500"/>
                                        <p:tgtEl>
                                          <p:spTgt spid="5"/>
                                        </p:tgtEl>
                                      </p:cBhvr>
                                    </p:animEffect>
                                  </p:childTnLst>
                                </p:cTn>
                              </p:par>
                              <p:par>
                                <p:cTn id="49" presetID="64" presetClass="path" presetSubtype="0" accel="50000" decel="50000" fill="hold" grpId="1" nodeType="withEffect">
                                  <p:stCondLst>
                                    <p:cond delay="0"/>
                                  </p:stCondLst>
                                  <p:childTnLst>
                                    <p:animMotion origin="layout" path="M -1.04167E-6 0.01528 L -1.04167E-6 -3.33333E-6 " pathEditMode="relative" rAng="0" ptsTypes="AA">
                                      <p:cBhvr>
                                        <p:cTn id="50" dur="500" fill="hold"/>
                                        <p:tgtEl>
                                          <p:spTgt spid="5"/>
                                        </p:tgtEl>
                                        <p:attrNameLst>
                                          <p:attrName>ppt_x</p:attrName>
                                          <p:attrName>ppt_y</p:attrName>
                                        </p:attrNameLst>
                                      </p:cBhvr>
                                      <p:rCtr x="0" y="-764"/>
                                    </p:animMotion>
                                  </p:childTnLst>
                                </p:cTn>
                              </p:par>
                              <p:par>
                                <p:cTn id="51" presetID="10" presetClass="entr" presetSubtype="0" fill="hold" grpId="0" nodeType="with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500"/>
                                        <p:tgtEl>
                                          <p:spTgt spid="22"/>
                                        </p:tgtEl>
                                      </p:cBhvr>
                                    </p:animEffect>
                                  </p:childTnLst>
                                </p:cTn>
                              </p:par>
                              <p:par>
                                <p:cTn id="54" presetID="64" presetClass="path" presetSubtype="0" accel="50000" decel="50000" fill="hold" grpId="1" nodeType="withEffect">
                                  <p:stCondLst>
                                    <p:cond delay="0"/>
                                  </p:stCondLst>
                                  <p:childTnLst>
                                    <p:animMotion origin="layout" path="M -1.04167E-6 0.01528 L -1.04167E-6 3.7037E-7 " pathEditMode="relative" rAng="0" ptsTypes="AA">
                                      <p:cBhvr>
                                        <p:cTn id="55" dur="500" fill="hold"/>
                                        <p:tgtEl>
                                          <p:spTgt spid="22"/>
                                        </p:tgtEl>
                                        <p:attrNameLst>
                                          <p:attrName>ppt_x</p:attrName>
                                          <p:attrName>ppt_y</p:attrName>
                                        </p:attrNameLst>
                                      </p:cBhvr>
                                      <p:rCtr x="0" y="-764"/>
                                    </p:animMotion>
                                  </p:childTnLst>
                                </p:cTn>
                              </p:par>
                              <p:par>
                                <p:cTn id="56" presetID="10" presetClass="entr" presetSubtype="0" fill="hold" nodeType="with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64" presetClass="path" presetSubtype="0" accel="50000" decel="50000" fill="hold" nodeType="withEffect">
                                  <p:stCondLst>
                                    <p:cond delay="0"/>
                                  </p:stCondLst>
                                  <p:childTnLst>
                                    <p:animMotion origin="layout" path="M -1.04167E-6 0.01527 L -1.04167E-6 3.7037E-6 " pathEditMode="relative" rAng="0" ptsTypes="AA">
                                      <p:cBhvr>
                                        <p:cTn id="60" dur="500" fill="hold"/>
                                        <p:tgtEl>
                                          <p:spTgt spid="19"/>
                                        </p:tgtEl>
                                        <p:attrNameLst>
                                          <p:attrName>ppt_x</p:attrName>
                                          <p:attrName>ppt_y</p:attrName>
                                        </p:attrNameLst>
                                      </p:cBhvr>
                                      <p:rCtr x="0" y="-764"/>
                                    </p:animMotion>
                                  </p:childTnLst>
                                </p:cTn>
                              </p:par>
                            </p:childTnLst>
                          </p:cTn>
                        </p:par>
                        <p:par>
                          <p:cTn id="61" fill="hold">
                            <p:stCondLst>
                              <p:cond delay="2300"/>
                            </p:stCondLst>
                            <p:childTnLst>
                              <p:par>
                                <p:cTn id="62" presetID="16" presetClass="entr" presetSubtype="37" fill="hold" nodeType="afterEffect">
                                  <p:stCondLst>
                                    <p:cond delay="0"/>
                                  </p:stCondLst>
                                  <p:childTnLst>
                                    <p:set>
                                      <p:cBhvr>
                                        <p:cTn id="63" dur="1" fill="hold">
                                          <p:stCondLst>
                                            <p:cond delay="0"/>
                                          </p:stCondLst>
                                        </p:cTn>
                                        <p:tgtEl>
                                          <p:spTgt spid="23"/>
                                        </p:tgtEl>
                                        <p:attrNameLst>
                                          <p:attrName>style.visibility</p:attrName>
                                        </p:attrNameLst>
                                      </p:cBhvr>
                                      <p:to>
                                        <p:strVal val="visible"/>
                                      </p:to>
                                    </p:set>
                                    <p:animEffect transition="in" filter="barn(outVertical)">
                                      <p:cBhvr>
                                        <p:cTn id="64" dur="500"/>
                                        <p:tgtEl>
                                          <p:spTgt spid="23"/>
                                        </p:tgtEl>
                                      </p:cBhvr>
                                    </p:animEffect>
                                  </p:childTnLst>
                                </p:cTn>
                              </p:par>
                              <p:par>
                                <p:cTn id="65" presetID="42" presetClass="path" presetSubtype="0" decel="100000" fill="hold" nodeType="withEffect">
                                  <p:stCondLst>
                                    <p:cond delay="0"/>
                                  </p:stCondLst>
                                  <p:childTnLst>
                                    <p:animMotion origin="layout" path="M 4.16667E-7 3.33333E-6 L 4.16667E-7 0.03541 " pathEditMode="relative" rAng="0" ptsTypes="AA">
                                      <p:cBhvr>
                                        <p:cTn id="66" dur="700" spd="-100000" fill="hold"/>
                                        <p:tgtEl>
                                          <p:spTgt spid="2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4" grpId="0" animBg="1"/>
      <p:bldP spid="4" grpId="1" animBg="1"/>
      <p:bldP spid="5" grpId="0" animBg="1"/>
      <p:bldP spid="5" grpId="1" animBg="1"/>
      <p:bldP spid="6" grpId="0" animBg="1"/>
      <p:bldP spid="6" grpId="1" animBg="1"/>
      <p:bldP spid="14" grpId="0"/>
      <p:bldP spid="14" grpId="1"/>
      <p:bldP spid="18" grpId="0"/>
      <p:bldP spid="18" grpId="1"/>
      <p:bldP spid="22" grpId="0"/>
      <p:bldP spid="22" grpId="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SMARTNOTES-DATA-SMARTSLIDE" val="{&quot;Animations&quot;:[],&quot;HasNotesSynced&quot;:false,&quot;Id&quot;:332,&quot;Index&quot;:56,&quot;IsHidden&quot;:false,&quot;Name&quot;:&quot;Slide77&quot;,&quot;SmartNote&quot;:{&quot;NoteText&quot;:&quot;&lt;Section xmlns=\&quot;http://schemas.microsoft.com/winfx/2006/xaml/presentation\&quot; xml:space=\&quot;preserve\&quot; TextAlignment=\&quot;Justify\&quot; LineHeight=\&quot;Auto\&quot; IsHyphenationEnabled=\&quot;False\&quot; xml:lang=\&quot;en-us\&quot; FlowDirection=\&quot;LeftToRight\&quot; NumberSubstitution.CultureSource=\&quot;Text\&quot; NumberSubstitution.Substitution=\&quot;AsCulture\&quot; FontFamily=\&quot;Georgia\&quot; FontStyle=\&quot;Normal\&quot; FontWeight=\&quot;Normal\&quot; FontStretch=\&quot;Normal\&quot; FontSize=\&quot;16\&quot; Foreground=\&quot;#FF000000\&quot; Typography.StandardLigatures=\&quot;True\&quot; Typography.ContextualLigatures=\&quot;True\&quot; Typography.DiscretionaryLigatures=\&quot;False\&quot; Typography.HistoricalLigatures=\&quot;False\&quot; Typography.AnnotationAlternates=\&quot;0\&quot; Typography.ContextualAlternates=\&quot;True\&quot; Typography.HistoricalForms=\&quot;False\&quot; Typography.Kerning=\&quot;True\&quot; Typography.CapitalSpacing=\&quot;False\&quot; Typography.CaseSensitiveForms=\&quot;False\&quot; Typography.StylisticSet1=\&quot;False\&quot; Typography.StylisticSet2=\&quot;False\&quot; Typography.StylisticSet3=\&quot;False\&quot; Typography.StylisticSet4=\&quot;False\&quot; Typography.StylisticSet5=\&quot;False\&quot; Typography.StylisticSet6=\&quot;False\&quot; Typography.StylisticSet7=\&quot;False\&quot; Typography.StylisticSet8=\&quot;False\&quot; Typography.StylisticSet9=\&quot;False\&quot; Typography.StylisticSet10=\&quot;False\&quot; Typography.StylisticSet11=\&quot;False\&quot; Typography.StylisticSet12=\&quot;False\&quot; Typography.StylisticSet13=\&quot;False\&quot; Typography.StylisticSet14=\&quot;False\&quot; Typography.StylisticSet15=\&quot;False\&quot; Typography.StylisticSet16=\&quot;False\&quot; Typography.StylisticSet17=\&quot;False\&quot; Typography.StylisticSet18=\&quot;False\&quot; Typography.StylisticSet19=\&quot;False\&quot; Typography.StylisticSet20=\&quot;False\&quot; Typography.Fraction=\&quot;Normal\&quot; Typography.SlashedZero=\&quot;False\&quot; Typography.MathematicalGreek=\&quot;False\&quot; Typography.EastAsianExpertForms=\&quot;False\&quot; Typography.Variants=\&quot;Normal\&quot; Typography.Capitals=\&quot;Normal\&quot; Typography.NumeralStyle=\&quot;Normal\&quot; Typography.NumeralAlignment=\&quot;Normal\&quot; Typography.EastAsianWidths=\&quot;Normal\&quot; Typography.EastAsianLanguage=\&quot;Normal\&quot; Typography.StandardSwashes=\&quot;0\&quot; Typography.ContextualSwashes=\&quot;0\&quot; Typography.StylisticAlternates=\&quot;0\&quot;&gt;&lt;Paragraph TextAlignment=\&quot;Left\&quot;&gt;&lt;Run FontFamily=\&quot;Calibri\&quot; FontSize=\&quot;21.333333333333332\&quot; Foreground=\&quot;#FFFFFFFF\&quot;&gt;&lt;/Run&gt;&lt;/Paragraph&gt;&lt;/Section&gt;&quot;,&quot;ParentSlideId&quot;:2147483638,&quot;PagesHistory&quot;:[{&quot;Id&quot;:1,&quot;Index&quot;:0,&quot;TriggerType&quot;:2,&quot;HasChildren&quot;:false}],&quot;Pages&quot;:[{&quot;Id&quot;:1,&quot;Index&quot;:0,&quot;TriggerType&quot;:2,&quot;HasChildren&quot;:fals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Hub Template">
  <a:themeElements>
    <a:clrScheme name="Customer Hub">
      <a:dk1>
        <a:srgbClr val="091F2C"/>
      </a:dk1>
      <a:lt1>
        <a:sysClr val="window" lastClr="FFFFFF"/>
      </a:lt1>
      <a:dk2>
        <a:srgbClr val="091F2C"/>
      </a:dk2>
      <a:lt2>
        <a:srgbClr val="EFF8FF"/>
      </a:lt2>
      <a:accent1>
        <a:srgbClr val="8DC8E8"/>
      </a:accent1>
      <a:accent2>
        <a:srgbClr val="0078D4"/>
      </a:accent2>
      <a:accent3>
        <a:srgbClr val="D59ED7"/>
      </a:accent3>
      <a:accent4>
        <a:srgbClr val="C03BC4"/>
      </a:accent4>
      <a:accent5>
        <a:srgbClr val="FFA38B"/>
      </a:accent5>
      <a:accent6>
        <a:srgbClr val="702573"/>
      </a:accent6>
      <a:hlink>
        <a:srgbClr val="006ECC"/>
      </a:hlink>
      <a:folHlink>
        <a:srgbClr val="3399F0"/>
      </a:folHlink>
    </a:clrScheme>
    <a:fontScheme name="Customer Hub">
      <a:majorFont>
        <a:latin typeface="Segoe Sans Display"/>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2.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365-Copilot-Powerpoint-Template" id="{45D8A70D-BF6C-4093-9EF8-5CF445DB7997}" vid="{24F93973-1432-4153-82CC-4E851EBE8185}"/>
    </a:ext>
  </a:extLst>
</a:theme>
</file>

<file path=ppt/theme/theme3.xml><?xml version="1.0" encoding="utf-8"?>
<a:theme xmlns:a="http://schemas.openxmlformats.org/drawingml/2006/main" name="2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0" id="{6B613F45-8EC8-42F9-932C-3D812BC0A41E}" vid="{731B3710-7283-4EED-B3B1-B5DA5FEB4743}"/>
    </a:ext>
  </a:extLst>
</a:theme>
</file>

<file path=ppt/theme/theme4.xml><?xml version="1.0" encoding="utf-8"?>
<a:theme xmlns:a="http://schemas.openxmlformats.org/drawingml/2006/main" name="Microsoft Learn_Off-White Template">
  <a:themeElements>
    <a:clrScheme name="Microsoft Learn Lt">
      <a:dk1>
        <a:srgbClr val="000000"/>
      </a:dk1>
      <a:lt1>
        <a:srgbClr val="FFFFFF"/>
      </a:lt1>
      <a:dk2>
        <a:srgbClr val="091F2C"/>
      </a:dk2>
      <a:lt2>
        <a:srgbClr val="E8E6DF"/>
      </a:lt2>
      <a:accent1>
        <a:srgbClr val="FF5C39"/>
      </a:accent1>
      <a:accent2>
        <a:srgbClr val="C73ECC"/>
      </a:accent2>
      <a:accent3>
        <a:srgbClr val="0078D4"/>
      </a:accent3>
      <a:accent4>
        <a:srgbClr val="F4364C"/>
      </a:accent4>
      <a:accent5>
        <a:srgbClr val="FFA38B"/>
      </a:accent5>
      <a:accent6>
        <a:srgbClr val="CD9BC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cap="rnd">
          <a:solidFill>
            <a:schemeClr val="bg1">
              <a:lumMod val="75000"/>
            </a:schemeClr>
          </a:solidFill>
          <a:prstDash val="dash"/>
          <a:headEnd type="none" w="lg" len="med"/>
          <a:tailEnd type="none" w="lg" len="med"/>
        </a:ln>
        <a:extLst>
          <a:ext uri="{909E8E84-426E-40DD-AFC4-6F175D3DCCD1}">
            <a14:hiddenFill xmlns:a14="http://schemas.microsoft.com/office/drawing/2010/main">
              <a:solidFill>
                <a:srgbClr val="FFFFFF"/>
              </a:solidFill>
            </a14:hiddenFill>
          </a:ext>
        </a:ex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Neutral gray">
      <a:srgbClr val="E8E6DF"/>
    </a:custClr>
    <a:custClr name="White">
      <a:srgbClr val="FFFFFF"/>
    </a:custClr>
    <a:custClr name="Blueblack">
      <a:srgbClr val="091F2C"/>
    </a:custClr>
    <a:custClr name="Off white">
      <a:srgbClr val="F4F3F5"/>
    </a:custClr>
    <a:custClr name="Light orange">
      <a:srgbClr val="FFA38B"/>
    </a:custClr>
    <a:custClr name="Light magenta">
      <a:srgbClr val="CD9BCF"/>
    </a:custClr>
    <a:custClr name="Light blue">
      <a:srgbClr val="8DC8E8"/>
    </a:custClr>
    <a:custClr name="Light red">
      <a:srgbClr val="FFB3BB"/>
    </a:custClr>
    <a:custClr name="White">
      <a:srgbClr val="FFFFFF"/>
    </a:custClr>
    <a:custClr name="White">
      <a:srgbClr val="FFFFFF"/>
    </a:custClr>
    <a:custClr name="Neutral gray">
      <a:srgbClr val="E8E6DF"/>
    </a:custClr>
    <a:custClr name="White">
      <a:srgbClr val="FFFFFF"/>
    </a:custClr>
    <a:custClr name="Blueblack">
      <a:srgbClr val="091F2C"/>
    </a:custClr>
    <a:custClr name="Off white">
      <a:srgbClr val="F4F3F5"/>
    </a:custClr>
    <a:custClr name="Dark orange">
      <a:srgbClr val="73391D"/>
    </a:custClr>
    <a:custClr name="Dark magenta">
      <a:srgbClr val="702573"/>
    </a:custClr>
    <a:custClr name="Dark blue">
      <a:srgbClr val="2A446F"/>
    </a:custClr>
    <a:custClr name="Dark red">
      <a:srgbClr val="73262F"/>
    </a:custClr>
    <a:custClr name="White">
      <a:srgbClr val="FFFFFF"/>
    </a:custClr>
    <a:custClr name="White">
      <a:srgbClr val="FFFFFF"/>
    </a:custClr>
  </a:custClrLst>
  <a:extLst>
    <a:ext uri="{05A4C25C-085E-4340-85A3-A5531E510DB2}">
      <thm15:themeFamily xmlns:thm15="http://schemas.microsoft.com/office/thememl/2012/main" name="Microsoft_Learn_PPT_Template_May2022_v1.2.potx" id="{E8BA4BE2-651F-4EE1-A371-820C6A54F7F0}" vid="{8B12D9F2-9900-4F0A-A3C6-C1A0AD8F6B06}"/>
    </a:ext>
  </a:extLst>
</a:theme>
</file>

<file path=ppt/theme/theme5.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PT Template MCAPS Academy Theme" id="{B38E21A1-05B2-A847-8CE5-912BE242CBEA}" vid="{97AB0D23-C1F5-B240-AC54-237E023CD11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adfd4c8-54de-4fa2-b73e-b8636989580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D2BB8FCA7FEB347BAC36A8D039FB81C" ma:contentTypeVersion="14" ma:contentTypeDescription="Create a new document." ma:contentTypeScope="" ma:versionID="f2a0b8957ab5fa9de4fbd953ee5e964c">
  <xsd:schema xmlns:xsd="http://www.w3.org/2001/XMLSchema" xmlns:xs="http://www.w3.org/2001/XMLSchema" xmlns:p="http://schemas.microsoft.com/office/2006/metadata/properties" xmlns:ns1="http://schemas.microsoft.com/sharepoint/v3" xmlns:ns2="6adfd4c8-54de-4fa2-b73e-b86369895801" targetNamespace="http://schemas.microsoft.com/office/2006/metadata/properties" ma:root="true" ma:fieldsID="6ffd9ea1e3518e6e0782accd3cd1fd75" ns1:_="" ns2:_="">
    <xsd:import namespace="http://schemas.microsoft.com/sharepoint/v3"/>
    <xsd:import namespace="6adfd4c8-54de-4fa2-b73e-b8636989580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MediaServiceOCR"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dfd4c8-54de-4fa2-b73e-b863698958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BillingMetadata" ma:index="21" nillable="true" ma:displayName="MediaServiceBillingMetadata" ma:hidden="true" ma:internalName="MediaServiceBillingMetadata"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dcmitype/"/>
    <ds:schemaRef ds:uri="http://purl.org/dc/terms/"/>
    <ds:schemaRef ds:uri="http://purl.org/dc/elements/1.1/"/>
    <ds:schemaRef ds:uri="http://schemas.microsoft.com/office/2006/documentManagement/types"/>
    <ds:schemaRef ds:uri="6adfd4c8-54de-4fa2-b73e-b86369895801"/>
    <ds:schemaRef ds:uri="http://schemas.openxmlformats.org/package/2006/metadata/core-properties"/>
    <ds:schemaRef ds:uri="http://www.w3.org/XML/1998/namespace"/>
    <ds:schemaRef ds:uri="http://schemas.microsoft.com/office/infopath/2007/PartnerControls"/>
    <ds:schemaRef ds:uri="http://schemas.microsoft.com/sharepoint/v3"/>
    <ds:schemaRef ds:uri="http://schemas.microsoft.com/office/2006/metadata/properties"/>
  </ds:schemaRefs>
</ds:datastoreItem>
</file>

<file path=customXml/itemProps3.xml><?xml version="1.0" encoding="utf-8"?>
<ds:datastoreItem xmlns:ds="http://schemas.openxmlformats.org/officeDocument/2006/customXml" ds:itemID="{C1971C49-C8D4-47BE-A030-2D677BE44A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adfd4c8-54de-4fa2-b73e-b863698958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4275</Words>
  <Application>Microsoft Office PowerPoint</Application>
  <PresentationFormat>Widescreen</PresentationFormat>
  <Paragraphs>349</Paragraphs>
  <Slides>32</Slides>
  <Notes>32</Notes>
  <HiddenSlides>0</HiddenSlides>
  <MMClips>0</MMClips>
  <ScaleCrop>false</ScaleCrop>
  <HeadingPairs>
    <vt:vector size="4" baseType="variant">
      <vt:variant>
        <vt:lpstr>Theme</vt:lpstr>
      </vt:variant>
      <vt:variant>
        <vt:i4>5</vt:i4>
      </vt:variant>
      <vt:variant>
        <vt:lpstr>Slide Titles</vt:lpstr>
      </vt:variant>
      <vt:variant>
        <vt:i4>32</vt:i4>
      </vt:variant>
    </vt:vector>
  </HeadingPairs>
  <TitlesOfParts>
    <vt:vector size="37" baseType="lpstr">
      <vt:lpstr>Customer Hub Template</vt:lpstr>
      <vt:lpstr>Microsoft 365 Copilot Template</vt:lpstr>
      <vt:lpstr>2_Microsoft 365 Copilot Template</vt:lpstr>
      <vt:lpstr>Microsoft Learn_Off-White Template</vt:lpstr>
      <vt:lpstr>1_Test</vt:lpstr>
      <vt:lpstr>Benvenuti nella serie Customer Hub   sugli agenti IA </vt:lpstr>
      <vt:lpstr>PowerPoint Presentation</vt:lpstr>
      <vt:lpstr>PowerPoint Presentation</vt:lpstr>
      <vt:lpstr>PowerPoint Presentation</vt:lpstr>
      <vt:lpstr>Programma</vt:lpstr>
      <vt:lpstr>Agenti e percorsi di sviluppo</vt:lpstr>
      <vt:lpstr>Dalla chat alla conversazione agentica</vt:lpstr>
      <vt:lpstr>Come «nascono» gli agenti</vt:lpstr>
      <vt:lpstr>Perché utilizzare un agente?</vt:lpstr>
      <vt:lpstr>Dove possiamo trovare i nostri agenti</vt:lpstr>
      <vt:lpstr>Il valore degli agenti in azienda</vt:lpstr>
      <vt:lpstr>Un vasto ecosistema per guidare la trasformazione IA</vt:lpstr>
      <vt:lpstr>Agenti Microsoft</vt:lpstr>
      <vt:lpstr>Agenti dei nostri Partner</vt:lpstr>
      <vt:lpstr>Adozione degli agenti: procedure consigliate </vt:lpstr>
      <vt:lpstr>I benefici di una adozione strutturata</vt:lpstr>
      <vt:lpstr>Come governare l’utilizzo degli agenti</vt:lpstr>
      <vt:lpstr>PowerPoint Presentation</vt:lpstr>
      <vt:lpstr>PowerPoint Presentation</vt:lpstr>
      <vt:lpstr>PowerPoint Presentation</vt:lpstr>
      <vt:lpstr>PowerPoint Presentation</vt:lpstr>
      <vt:lpstr>PowerPoint Presentation</vt:lpstr>
      <vt:lpstr>Materiali e formazione aggiuntiva</vt:lpstr>
      <vt:lpstr>PowerPoint Presentation</vt:lpstr>
      <vt:lpstr>PowerPoint Presentation</vt:lpstr>
      <vt:lpstr>Aggiungi le credenziali Agents al tuo curriculum</vt:lpstr>
      <vt:lpstr>PowerPoint Presentation</vt:lpstr>
      <vt:lpstr>PowerPoint Presentation</vt:lpstr>
      <vt:lpstr>Investimenti Microsoft per accelerare il time-to-value</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Jignesh.Thakkar@microsoft.com</dc:creator>
  <cp:keywords/>
  <dc:description/>
  <cp:lastModifiedBy>Victoria Blasich (FREEMIND SEATTLE LLC)</cp:lastModifiedBy>
  <cp:revision>40</cp:revision>
  <cp:lastPrinted>2023-02-15T20:48:24Z</cp:lastPrinted>
  <dcterms:created xsi:type="dcterms:W3CDTF">2025-03-03T10:30:40Z</dcterms:created>
  <dcterms:modified xsi:type="dcterms:W3CDTF">2026-07-07T16:13:0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2BB8FCA7FEB347BAC36A8D039FB81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j7ed6b1749d644c580569ee38d7710d7">
    <vt:lpwstr/>
  </property>
  <property fmtid="{D5CDD505-2E9C-101B-9397-08002B2CF9AE}" pid="19" name="e93e2550f0ac4199ae3cf1406d72085e">
    <vt:lpwstr/>
  </property>
  <property fmtid="{D5CDD505-2E9C-101B-9397-08002B2CF9AE}" pid="20" name="o92d4232daec467abb08246282070aa9">
    <vt:lpwstr/>
  </property>
  <property fmtid="{D5CDD505-2E9C-101B-9397-08002B2CF9AE}" pid="21" name="bc8cca776fa8455c8c00307ee3c527ad">
    <vt:lpwstr/>
  </property>
  <property fmtid="{D5CDD505-2E9C-101B-9397-08002B2CF9AE}" pid="22" name="_dlc_DocIdItemGuid">
    <vt:lpwstr>4230617f-e31b-4f22-8a5a-7761a22ded76</vt:lpwstr>
  </property>
  <property fmtid="{D5CDD505-2E9C-101B-9397-08002B2CF9AE}" pid="23" name="o1dbacbd0e564fc293d11b6c4775302e">
    <vt:lpwstr/>
  </property>
  <property fmtid="{D5CDD505-2E9C-101B-9397-08002B2CF9AE}" pid="24" name="MediaServiceImageTags">
    <vt:lpwstr/>
  </property>
  <property fmtid="{D5CDD505-2E9C-101B-9397-08002B2CF9AE}" pid="25" name="epPlatforms">
    <vt:lpwstr/>
  </property>
</Properties>
</file>